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56" r:id="rId2"/>
    <p:sldId id="418" r:id="rId3"/>
    <p:sldId id="297" r:id="rId4"/>
    <p:sldId id="278" r:id="rId5"/>
    <p:sldId id="421" r:id="rId6"/>
    <p:sldId id="422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B1B93"/>
    <a:srgbClr val="0D21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0" d="100"/>
          <a:sy n="80" d="100"/>
        </p:scale>
        <p:origin x="710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85EC85E-9467-4950-BADD-830533862975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70E9467-94F1-4A73-9389-2BD41B027D6A}">
      <dgm:prSet phldrT="[Text]"/>
      <dgm:spPr/>
      <dgm:t>
        <a:bodyPr/>
        <a:lstStyle/>
        <a:p>
          <a:r>
            <a:rPr lang="en-US" dirty="0"/>
            <a:t>Overall Benefits</a:t>
          </a:r>
        </a:p>
      </dgm:t>
    </dgm:pt>
    <dgm:pt modelId="{308B2EE8-7DC1-4883-853D-610FD691B85E}" type="parTrans" cxnId="{07F43930-D87E-45E2-B949-59CF7FA3F994}">
      <dgm:prSet/>
      <dgm:spPr/>
      <dgm:t>
        <a:bodyPr/>
        <a:lstStyle/>
        <a:p>
          <a:endParaRPr lang="en-US"/>
        </a:p>
      </dgm:t>
    </dgm:pt>
    <dgm:pt modelId="{43016795-5FE7-4887-8C26-97BD44168DE5}" type="sibTrans" cxnId="{07F43930-D87E-45E2-B949-59CF7FA3F994}">
      <dgm:prSet/>
      <dgm:spPr/>
      <dgm:t>
        <a:bodyPr/>
        <a:lstStyle/>
        <a:p>
          <a:endParaRPr lang="en-US"/>
        </a:p>
      </dgm:t>
    </dgm:pt>
    <dgm:pt modelId="{58AB0136-ADB7-41B2-9626-ED3443C244FB}">
      <dgm:prSet phldrT="[Text]"/>
      <dgm:spPr/>
      <dgm:t>
        <a:bodyPr/>
        <a:lstStyle/>
        <a:p>
          <a:r>
            <a:rPr lang="en-US" dirty="0"/>
            <a:t>Works across all the P&amp;C insurance platforms</a:t>
          </a:r>
        </a:p>
      </dgm:t>
    </dgm:pt>
    <dgm:pt modelId="{B6C4B63B-FC58-430D-AD88-BA83223F44C1}" type="parTrans" cxnId="{8D9D2FFC-3BD2-4FCA-BDC6-63D8A15556A3}">
      <dgm:prSet/>
      <dgm:spPr/>
      <dgm:t>
        <a:bodyPr/>
        <a:lstStyle/>
        <a:p>
          <a:endParaRPr lang="en-US"/>
        </a:p>
      </dgm:t>
    </dgm:pt>
    <dgm:pt modelId="{DF965834-0DF6-4977-8BE6-DD00EC3B53D0}" type="sibTrans" cxnId="{8D9D2FFC-3BD2-4FCA-BDC6-63D8A15556A3}">
      <dgm:prSet/>
      <dgm:spPr/>
      <dgm:t>
        <a:bodyPr/>
        <a:lstStyle/>
        <a:p>
          <a:endParaRPr lang="en-US"/>
        </a:p>
      </dgm:t>
    </dgm:pt>
    <dgm:pt modelId="{A184C0B2-8285-4B7E-985C-D859FF048C64}">
      <dgm:prSet phldrT="[Text]"/>
      <dgm:spPr/>
      <dgm:t>
        <a:bodyPr/>
        <a:lstStyle/>
        <a:p>
          <a:r>
            <a:rPr lang="en-US" dirty="0"/>
            <a:t>Support Agile development</a:t>
          </a:r>
        </a:p>
      </dgm:t>
    </dgm:pt>
    <dgm:pt modelId="{C2D8D3AB-1DEC-4084-8C74-D5816B32CCBA}" type="parTrans" cxnId="{5CAF25CE-2A1A-4140-8A76-2A4E3C365A89}">
      <dgm:prSet/>
      <dgm:spPr/>
      <dgm:t>
        <a:bodyPr/>
        <a:lstStyle/>
        <a:p>
          <a:endParaRPr lang="en-US"/>
        </a:p>
      </dgm:t>
    </dgm:pt>
    <dgm:pt modelId="{6BA68892-A9AB-49FE-B222-E61641EC1877}" type="sibTrans" cxnId="{5CAF25CE-2A1A-4140-8A76-2A4E3C365A89}">
      <dgm:prSet/>
      <dgm:spPr/>
      <dgm:t>
        <a:bodyPr/>
        <a:lstStyle/>
        <a:p>
          <a:endParaRPr lang="en-US"/>
        </a:p>
      </dgm:t>
    </dgm:pt>
    <dgm:pt modelId="{42CF211C-C4D3-4BAA-9198-291FBAAE01F5}">
      <dgm:prSet phldrT="[Text]"/>
      <dgm:spPr/>
      <dgm:t>
        <a:bodyPr/>
        <a:lstStyle/>
        <a:p>
          <a:r>
            <a:rPr lang="en-US" dirty="0"/>
            <a:t>Increase Automation	</a:t>
          </a:r>
        </a:p>
      </dgm:t>
    </dgm:pt>
    <dgm:pt modelId="{C427FF45-DB50-4B15-B7A6-81DAF612F8D0}" type="parTrans" cxnId="{EC1DCAFD-1FBA-4419-8AC8-C3CE117194E4}">
      <dgm:prSet/>
      <dgm:spPr/>
      <dgm:t>
        <a:bodyPr/>
        <a:lstStyle/>
        <a:p>
          <a:endParaRPr lang="en-US"/>
        </a:p>
      </dgm:t>
    </dgm:pt>
    <dgm:pt modelId="{935FB07B-C4F3-4FF3-A249-36CA53BE5A84}" type="sibTrans" cxnId="{EC1DCAFD-1FBA-4419-8AC8-C3CE117194E4}">
      <dgm:prSet/>
      <dgm:spPr/>
      <dgm:t>
        <a:bodyPr/>
        <a:lstStyle/>
        <a:p>
          <a:endParaRPr lang="en-US"/>
        </a:p>
      </dgm:t>
    </dgm:pt>
    <dgm:pt modelId="{9040D1C8-F01A-4373-88D4-616C582C0D3F}">
      <dgm:prSet phldrT="[Text]"/>
      <dgm:spPr/>
      <dgm:t>
        <a:bodyPr/>
        <a:lstStyle/>
        <a:p>
          <a:r>
            <a:rPr lang="en-US" dirty="0"/>
            <a:t>Supports progression testing of new features is possible</a:t>
          </a:r>
        </a:p>
      </dgm:t>
    </dgm:pt>
    <dgm:pt modelId="{AC72B872-012F-405B-9662-262B317E410A}" type="parTrans" cxnId="{A290F785-CEF9-4725-B88B-6813599B99D4}">
      <dgm:prSet/>
      <dgm:spPr/>
      <dgm:t>
        <a:bodyPr/>
        <a:lstStyle/>
        <a:p>
          <a:endParaRPr lang="en-US"/>
        </a:p>
      </dgm:t>
    </dgm:pt>
    <dgm:pt modelId="{0D9282E1-EDDF-4165-BD39-4709212C8648}" type="sibTrans" cxnId="{A290F785-CEF9-4725-B88B-6813599B99D4}">
      <dgm:prSet/>
      <dgm:spPr/>
      <dgm:t>
        <a:bodyPr/>
        <a:lstStyle/>
        <a:p>
          <a:endParaRPr lang="en-US"/>
        </a:p>
      </dgm:t>
    </dgm:pt>
    <dgm:pt modelId="{B2DA9857-3A26-46FB-BA10-740D9C81C484}">
      <dgm:prSet phldrT="[Text]"/>
      <dgm:spPr/>
      <dgm:t>
        <a:bodyPr/>
        <a:lstStyle/>
        <a:p>
          <a:r>
            <a:rPr lang="en-US" dirty="0"/>
            <a:t>Enable Manual/Functional testers to do test automation</a:t>
          </a:r>
        </a:p>
      </dgm:t>
    </dgm:pt>
    <dgm:pt modelId="{49574EEF-AB49-4318-8B03-22C9F22006ED}" type="parTrans" cxnId="{4C296654-A984-493F-9CCD-69CD58F2997A}">
      <dgm:prSet/>
      <dgm:spPr/>
      <dgm:t>
        <a:bodyPr/>
        <a:lstStyle/>
        <a:p>
          <a:endParaRPr lang="en-US"/>
        </a:p>
      </dgm:t>
    </dgm:pt>
    <dgm:pt modelId="{0ECCB59F-FE2A-47DD-AC4E-A5B2B13D7439}" type="sibTrans" cxnId="{4C296654-A984-493F-9CCD-69CD58F2997A}">
      <dgm:prSet/>
      <dgm:spPr/>
      <dgm:t>
        <a:bodyPr/>
        <a:lstStyle/>
        <a:p>
          <a:endParaRPr lang="en-US"/>
        </a:p>
      </dgm:t>
    </dgm:pt>
    <dgm:pt modelId="{F21FA1D6-5FA6-471B-985A-DE5DDB645918}">
      <dgm:prSet phldrT="[Text]"/>
      <dgm:spPr/>
      <dgm:t>
        <a:bodyPr/>
        <a:lstStyle/>
        <a:p>
          <a:r>
            <a:rPr lang="en-US" dirty="0"/>
            <a:t>Save Testing Effort</a:t>
          </a:r>
        </a:p>
      </dgm:t>
    </dgm:pt>
    <dgm:pt modelId="{B118A24E-D660-44E6-B3B1-71BD1601C806}" type="parTrans" cxnId="{DCAE3259-4653-42F0-8CBC-EF0D37C002B5}">
      <dgm:prSet/>
      <dgm:spPr/>
      <dgm:t>
        <a:bodyPr/>
        <a:lstStyle/>
        <a:p>
          <a:endParaRPr lang="en-US"/>
        </a:p>
      </dgm:t>
    </dgm:pt>
    <dgm:pt modelId="{07EBCB5E-553C-4C09-ADE8-8B1275BAC5DB}" type="sibTrans" cxnId="{DCAE3259-4653-42F0-8CBC-EF0D37C002B5}">
      <dgm:prSet/>
      <dgm:spPr/>
      <dgm:t>
        <a:bodyPr/>
        <a:lstStyle/>
        <a:p>
          <a:endParaRPr lang="en-US"/>
        </a:p>
      </dgm:t>
    </dgm:pt>
    <dgm:pt modelId="{BB709FEC-8290-492D-8EBD-C598AF951D56}">
      <dgm:prSet phldrT="[Text]"/>
      <dgm:spPr/>
      <dgm:t>
        <a:bodyPr/>
        <a:lstStyle/>
        <a:p>
          <a:r>
            <a:rPr lang="en-US" dirty="0"/>
            <a:t>Reduce effort across testing lifecycle, test design and execution by optimizing the test cases</a:t>
          </a:r>
        </a:p>
      </dgm:t>
    </dgm:pt>
    <dgm:pt modelId="{9A02229E-56DE-44A8-BC1F-52BCF439DEE0}" type="parTrans" cxnId="{B36A2C88-6846-4EB9-946F-97F25CE99FFB}">
      <dgm:prSet/>
      <dgm:spPr/>
      <dgm:t>
        <a:bodyPr/>
        <a:lstStyle/>
        <a:p>
          <a:endParaRPr lang="en-US"/>
        </a:p>
      </dgm:t>
    </dgm:pt>
    <dgm:pt modelId="{E94E202B-6ED8-4AA8-8232-2776BBD73F91}" type="sibTrans" cxnId="{B36A2C88-6846-4EB9-946F-97F25CE99FFB}">
      <dgm:prSet/>
      <dgm:spPr/>
      <dgm:t>
        <a:bodyPr/>
        <a:lstStyle/>
        <a:p>
          <a:endParaRPr lang="en-US"/>
        </a:p>
      </dgm:t>
    </dgm:pt>
    <dgm:pt modelId="{22CFDE32-CF31-4031-B035-36C67C8D1CAD}">
      <dgm:prSet phldrT="[Text]"/>
      <dgm:spPr/>
      <dgm:t>
        <a:bodyPr/>
        <a:lstStyle/>
        <a:p>
          <a:r>
            <a:rPr lang="en-US" dirty="0"/>
            <a:t>Faster script development</a:t>
          </a:r>
        </a:p>
      </dgm:t>
    </dgm:pt>
    <dgm:pt modelId="{6EC5A84F-53D6-4839-8AA0-11887046745A}" type="parTrans" cxnId="{E317374D-113B-4EAF-840B-B357D200DE14}">
      <dgm:prSet/>
      <dgm:spPr/>
      <dgm:t>
        <a:bodyPr/>
        <a:lstStyle/>
        <a:p>
          <a:endParaRPr lang="en-US"/>
        </a:p>
      </dgm:t>
    </dgm:pt>
    <dgm:pt modelId="{19792830-421E-468F-889F-606DDCC3B363}" type="sibTrans" cxnId="{E317374D-113B-4EAF-840B-B357D200DE14}">
      <dgm:prSet/>
      <dgm:spPr/>
      <dgm:t>
        <a:bodyPr/>
        <a:lstStyle/>
        <a:p>
          <a:endParaRPr lang="en-US"/>
        </a:p>
      </dgm:t>
    </dgm:pt>
    <dgm:pt modelId="{4FECA7C3-008F-4B93-9A2D-9D3D1FB570C4}">
      <dgm:prSet phldrT="[Text]"/>
      <dgm:spPr/>
      <dgm:t>
        <a:bodyPr/>
        <a:lstStyle/>
        <a:p>
          <a:r>
            <a:rPr lang="en-US" dirty="0"/>
            <a:t>Shorten Time To Market</a:t>
          </a:r>
        </a:p>
      </dgm:t>
    </dgm:pt>
    <dgm:pt modelId="{0FCB2592-4490-48A9-A0BB-A369A4B0EADD}" type="parTrans" cxnId="{7A8AAACA-DE75-48CF-A27A-40EB5409FB59}">
      <dgm:prSet/>
      <dgm:spPr/>
      <dgm:t>
        <a:bodyPr/>
        <a:lstStyle/>
        <a:p>
          <a:endParaRPr lang="en-US"/>
        </a:p>
      </dgm:t>
    </dgm:pt>
    <dgm:pt modelId="{96015FB6-3B9B-41C4-8D7F-645F06968D18}" type="sibTrans" cxnId="{7A8AAACA-DE75-48CF-A27A-40EB5409FB59}">
      <dgm:prSet/>
      <dgm:spPr/>
      <dgm:t>
        <a:bodyPr/>
        <a:lstStyle/>
        <a:p>
          <a:endParaRPr lang="en-US"/>
        </a:p>
      </dgm:t>
    </dgm:pt>
    <dgm:pt modelId="{ABB352E5-E415-492F-8190-4815EF4D39B2}">
      <dgm:prSet phldrT="[Text]"/>
      <dgm:spPr/>
      <dgm:t>
        <a:bodyPr/>
        <a:lstStyle/>
        <a:p>
          <a:r>
            <a:rPr lang="en-US" dirty="0"/>
            <a:t>Start automation activity early</a:t>
          </a:r>
        </a:p>
      </dgm:t>
    </dgm:pt>
    <dgm:pt modelId="{C2A07BE5-59B8-4F7E-8F0D-CF1DD865D31F}" type="parTrans" cxnId="{6BD7AC1D-F2A6-4127-B161-59FF1847C13B}">
      <dgm:prSet/>
      <dgm:spPr/>
      <dgm:t>
        <a:bodyPr/>
        <a:lstStyle/>
        <a:p>
          <a:endParaRPr lang="en-US"/>
        </a:p>
      </dgm:t>
    </dgm:pt>
    <dgm:pt modelId="{F1211209-52B4-4E86-AD2D-82067D575E6D}" type="sibTrans" cxnId="{6BD7AC1D-F2A6-4127-B161-59FF1847C13B}">
      <dgm:prSet/>
      <dgm:spPr/>
      <dgm:t>
        <a:bodyPr/>
        <a:lstStyle/>
        <a:p>
          <a:endParaRPr lang="en-US"/>
        </a:p>
      </dgm:t>
    </dgm:pt>
    <dgm:pt modelId="{EEBD9BBC-55B8-4FD3-8299-66C00177B6BA}">
      <dgm:prSet phldrT="[Text]"/>
      <dgm:spPr/>
      <dgm:t>
        <a:bodyPr/>
        <a:lstStyle/>
        <a:p>
          <a:r>
            <a:rPr lang="en-US" dirty="0"/>
            <a:t>Write manual test cases that automate easily</a:t>
          </a:r>
        </a:p>
      </dgm:t>
    </dgm:pt>
    <dgm:pt modelId="{0FA1CD69-37C9-4379-8CAE-BB0436D00944}" type="parTrans" cxnId="{3DF2C681-831F-437E-AF87-5724A698B4D5}">
      <dgm:prSet/>
      <dgm:spPr/>
      <dgm:t>
        <a:bodyPr/>
        <a:lstStyle/>
        <a:p>
          <a:endParaRPr lang="en-US"/>
        </a:p>
      </dgm:t>
    </dgm:pt>
    <dgm:pt modelId="{F5B92CD2-D5CB-484E-BF43-D212F5690476}" type="sibTrans" cxnId="{3DF2C681-831F-437E-AF87-5724A698B4D5}">
      <dgm:prSet/>
      <dgm:spPr/>
      <dgm:t>
        <a:bodyPr/>
        <a:lstStyle/>
        <a:p>
          <a:endParaRPr lang="en-US"/>
        </a:p>
      </dgm:t>
    </dgm:pt>
    <dgm:pt modelId="{E71543C0-70D3-46B5-9703-FB2F9590D740}">
      <dgm:prSet phldrT="[Text]"/>
      <dgm:spPr/>
      <dgm:t>
        <a:bodyPr/>
        <a:lstStyle/>
        <a:p>
          <a:r>
            <a:rPr lang="en-US" dirty="0"/>
            <a:t>Support Functional and Regression Automation</a:t>
          </a:r>
        </a:p>
      </dgm:t>
    </dgm:pt>
    <dgm:pt modelId="{38C0FCBA-75F5-400B-A693-61229277EAD1}" type="parTrans" cxnId="{72EDCE79-A32D-49DD-9AA1-AC6DCC92CA0A}">
      <dgm:prSet/>
      <dgm:spPr/>
      <dgm:t>
        <a:bodyPr/>
        <a:lstStyle/>
        <a:p>
          <a:endParaRPr lang="en-US"/>
        </a:p>
      </dgm:t>
    </dgm:pt>
    <dgm:pt modelId="{B9177ABE-E69C-43E7-BB33-C59EE9178E78}" type="sibTrans" cxnId="{72EDCE79-A32D-49DD-9AA1-AC6DCC92CA0A}">
      <dgm:prSet/>
      <dgm:spPr/>
      <dgm:t>
        <a:bodyPr/>
        <a:lstStyle/>
        <a:p>
          <a:endParaRPr lang="en-US"/>
        </a:p>
      </dgm:t>
    </dgm:pt>
    <dgm:pt modelId="{48EA9AA4-BE56-4CF4-9AF5-929C8F9322A9}">
      <dgm:prSet phldrT="[Text]"/>
      <dgm:spPr/>
      <dgm:t>
        <a:bodyPr/>
        <a:lstStyle/>
        <a:p>
          <a:r>
            <a:rPr lang="en-US" dirty="0"/>
            <a:t>Support Web and API testing</a:t>
          </a:r>
        </a:p>
      </dgm:t>
    </dgm:pt>
    <dgm:pt modelId="{C78E186F-C406-4E81-B35E-331FBE199A73}" type="parTrans" cxnId="{A515F81B-DFA1-4197-98A0-319F82B9842E}">
      <dgm:prSet/>
      <dgm:spPr/>
      <dgm:t>
        <a:bodyPr/>
        <a:lstStyle/>
        <a:p>
          <a:endParaRPr lang="en-US"/>
        </a:p>
      </dgm:t>
    </dgm:pt>
    <dgm:pt modelId="{23386099-1972-4E0A-A01B-8BCFC7431CE1}" type="sibTrans" cxnId="{A515F81B-DFA1-4197-98A0-319F82B9842E}">
      <dgm:prSet/>
      <dgm:spPr/>
      <dgm:t>
        <a:bodyPr/>
        <a:lstStyle/>
        <a:p>
          <a:endParaRPr lang="en-US"/>
        </a:p>
      </dgm:t>
    </dgm:pt>
    <dgm:pt modelId="{FF4F50C4-19FC-45A1-B435-48E6F62E2461}">
      <dgm:prSet phldrT="[Text]"/>
      <dgm:spPr/>
      <dgm:t>
        <a:bodyPr/>
        <a:lstStyle/>
        <a:p>
          <a:r>
            <a:rPr lang="en-US" dirty="0"/>
            <a:t>Support Cross Browser testing</a:t>
          </a:r>
        </a:p>
      </dgm:t>
    </dgm:pt>
    <dgm:pt modelId="{3533672B-ECA7-4C41-A275-586434C0F4F9}" type="parTrans" cxnId="{DBC01A23-5393-462F-8AE9-009A0812D28A}">
      <dgm:prSet/>
      <dgm:spPr/>
      <dgm:t>
        <a:bodyPr/>
        <a:lstStyle/>
        <a:p>
          <a:endParaRPr lang="en-US"/>
        </a:p>
      </dgm:t>
    </dgm:pt>
    <dgm:pt modelId="{AD15B933-1289-4D7E-AA1E-7C617B4823AD}" type="sibTrans" cxnId="{DBC01A23-5393-462F-8AE9-009A0812D28A}">
      <dgm:prSet/>
      <dgm:spPr/>
      <dgm:t>
        <a:bodyPr/>
        <a:lstStyle/>
        <a:p>
          <a:endParaRPr lang="en-US"/>
        </a:p>
      </dgm:t>
    </dgm:pt>
    <dgm:pt modelId="{FBEAC2EF-85DF-4F37-9427-CA39467008B3}">
      <dgm:prSet phldrT="[Text]"/>
      <dgm:spPr/>
      <dgm:t>
        <a:bodyPr/>
        <a:lstStyle/>
        <a:p>
          <a:r>
            <a:rPr lang="en-US" dirty="0"/>
            <a:t>40-50% effort reduction in script development saves the project overall timelines with maximum automation coverage</a:t>
          </a:r>
        </a:p>
      </dgm:t>
    </dgm:pt>
    <dgm:pt modelId="{DA4EE488-E46B-4F38-9B1B-AD9A2B4F0829}" type="parTrans" cxnId="{5A56AB1C-3CAC-4BD7-AC84-49C96E6F73CA}">
      <dgm:prSet/>
      <dgm:spPr/>
      <dgm:t>
        <a:bodyPr/>
        <a:lstStyle/>
        <a:p>
          <a:endParaRPr lang="en-US"/>
        </a:p>
      </dgm:t>
    </dgm:pt>
    <dgm:pt modelId="{B6896C48-598A-43B0-8A3E-50BA11C75A46}" type="sibTrans" cxnId="{5A56AB1C-3CAC-4BD7-AC84-49C96E6F73CA}">
      <dgm:prSet/>
      <dgm:spPr/>
      <dgm:t>
        <a:bodyPr/>
        <a:lstStyle/>
        <a:p>
          <a:endParaRPr lang="en-US"/>
        </a:p>
      </dgm:t>
    </dgm:pt>
    <dgm:pt modelId="{818BDD79-3DA0-42BE-A6CB-7242CD960DEC}">
      <dgm:prSet phldrT="[Text]"/>
      <dgm:spPr/>
      <dgm:t>
        <a:bodyPr/>
        <a:lstStyle/>
        <a:p>
          <a:r>
            <a:rPr lang="en-US" dirty="0"/>
            <a:t> 20-25% effort reduction in test design phase</a:t>
          </a:r>
        </a:p>
      </dgm:t>
    </dgm:pt>
    <dgm:pt modelId="{5634EBE4-F7D3-4889-8BAC-5220F9F98DF6}" type="parTrans" cxnId="{1DDC29CC-3E8B-4E38-B386-3C0A112EFED1}">
      <dgm:prSet/>
      <dgm:spPr/>
      <dgm:t>
        <a:bodyPr/>
        <a:lstStyle/>
        <a:p>
          <a:endParaRPr lang="en-US"/>
        </a:p>
      </dgm:t>
    </dgm:pt>
    <dgm:pt modelId="{6DA8F99A-0C1A-4750-BE77-5F55411C24AB}" type="sibTrans" cxnId="{1DDC29CC-3E8B-4E38-B386-3C0A112EFED1}">
      <dgm:prSet/>
      <dgm:spPr/>
      <dgm:t>
        <a:bodyPr/>
        <a:lstStyle/>
        <a:p>
          <a:endParaRPr lang="en-US"/>
        </a:p>
      </dgm:t>
    </dgm:pt>
    <dgm:pt modelId="{9B096BA5-E1EC-42F4-B088-FD1C5DC21643}">
      <dgm:prSet phldrT="[Text]"/>
      <dgm:spPr/>
      <dgm:t>
        <a:bodyPr/>
        <a:lstStyle/>
        <a:p>
          <a:r>
            <a:rPr lang="en-US" dirty="0"/>
            <a:t>Anyone can automate</a:t>
          </a:r>
        </a:p>
      </dgm:t>
    </dgm:pt>
    <dgm:pt modelId="{D1F36733-109B-45E4-B244-037ADD14073C}" type="parTrans" cxnId="{7A955D9D-46FD-4FCD-91F2-38368F2E9ECB}">
      <dgm:prSet/>
      <dgm:spPr/>
      <dgm:t>
        <a:bodyPr/>
        <a:lstStyle/>
        <a:p>
          <a:endParaRPr lang="en-US"/>
        </a:p>
      </dgm:t>
    </dgm:pt>
    <dgm:pt modelId="{DCCA6E9D-41D9-40A8-843F-14592BB7F512}" type="sibTrans" cxnId="{7A955D9D-46FD-4FCD-91F2-38368F2E9ECB}">
      <dgm:prSet/>
      <dgm:spPr/>
      <dgm:t>
        <a:bodyPr/>
        <a:lstStyle/>
        <a:p>
          <a:endParaRPr lang="en-US"/>
        </a:p>
      </dgm:t>
    </dgm:pt>
    <dgm:pt modelId="{71F1F3AA-4072-44E3-A116-E71E088AA39D}">
      <dgm:prSet phldrT="[Text]"/>
      <dgm:spPr/>
      <dgm:t>
        <a:bodyPr/>
        <a:lstStyle/>
        <a:p>
          <a:r>
            <a:rPr lang="en-US" dirty="0"/>
            <a:t>Flexible execution reports with screen recording feature</a:t>
          </a:r>
        </a:p>
      </dgm:t>
    </dgm:pt>
    <dgm:pt modelId="{9A7B9960-FF3A-4DCE-ADC9-E4B780718726}" type="parTrans" cxnId="{B7C9088F-B36B-414D-BFD6-47B6919F3B6B}">
      <dgm:prSet/>
      <dgm:spPr/>
      <dgm:t>
        <a:bodyPr/>
        <a:lstStyle/>
        <a:p>
          <a:endParaRPr lang="en-US"/>
        </a:p>
      </dgm:t>
    </dgm:pt>
    <dgm:pt modelId="{2FE7AA31-897B-434A-82F4-40F0FF46EEBC}" type="sibTrans" cxnId="{B7C9088F-B36B-414D-BFD6-47B6919F3B6B}">
      <dgm:prSet/>
      <dgm:spPr/>
      <dgm:t>
        <a:bodyPr/>
        <a:lstStyle/>
        <a:p>
          <a:endParaRPr lang="en-US"/>
        </a:p>
      </dgm:t>
    </dgm:pt>
    <dgm:pt modelId="{55B15AE2-53D4-4624-AAEF-4EA9E6D8323E}">
      <dgm:prSet phldrT="[Text]"/>
      <dgm:spPr/>
      <dgm:t>
        <a:bodyPr/>
        <a:lstStyle/>
        <a:p>
          <a:r>
            <a:rPr lang="en-US" dirty="0"/>
            <a:t>No Synchronization issues as the framework handles it automatically</a:t>
          </a:r>
        </a:p>
      </dgm:t>
    </dgm:pt>
    <dgm:pt modelId="{D91A5862-0582-4243-B7D3-FB3EB00E0371}" type="parTrans" cxnId="{8CD7631F-1CC5-42EB-8DE0-4B8B4067BA55}">
      <dgm:prSet/>
      <dgm:spPr/>
      <dgm:t>
        <a:bodyPr/>
        <a:lstStyle/>
        <a:p>
          <a:endParaRPr lang="en-US"/>
        </a:p>
      </dgm:t>
    </dgm:pt>
    <dgm:pt modelId="{884BAE47-6017-467F-83BC-59BCAC758A3A}" type="sibTrans" cxnId="{8CD7631F-1CC5-42EB-8DE0-4B8B4067BA55}">
      <dgm:prSet/>
      <dgm:spPr/>
      <dgm:t>
        <a:bodyPr/>
        <a:lstStyle/>
        <a:p>
          <a:endParaRPr lang="en-US"/>
        </a:p>
      </dgm:t>
    </dgm:pt>
    <dgm:pt modelId="{CE1B9E9B-54DF-405D-ABEF-68BBAE665DC9}">
      <dgm:prSet phldrT="[Text]"/>
      <dgm:spPr/>
      <dgm:t>
        <a:bodyPr/>
        <a:lstStyle/>
        <a:p>
          <a:r>
            <a:rPr lang="en-US" dirty="0"/>
            <a:t>Less execution time comparing to other frameworks</a:t>
          </a:r>
        </a:p>
      </dgm:t>
    </dgm:pt>
    <dgm:pt modelId="{79464CDD-EF6C-46FA-9320-08AF3E43D53F}" type="parTrans" cxnId="{21D65E37-1087-4FEC-A1D5-41BA69BA0BFF}">
      <dgm:prSet/>
      <dgm:spPr/>
      <dgm:t>
        <a:bodyPr/>
        <a:lstStyle/>
        <a:p>
          <a:endParaRPr lang="en-US"/>
        </a:p>
      </dgm:t>
    </dgm:pt>
    <dgm:pt modelId="{3DA248B9-C9BA-4D48-9A8F-A738C600454C}" type="sibTrans" cxnId="{21D65E37-1087-4FEC-A1D5-41BA69BA0BFF}">
      <dgm:prSet/>
      <dgm:spPr/>
      <dgm:t>
        <a:bodyPr/>
        <a:lstStyle/>
        <a:p>
          <a:endParaRPr lang="en-US"/>
        </a:p>
      </dgm:t>
    </dgm:pt>
    <dgm:pt modelId="{694B97B5-8993-4E09-AF27-3111E8FF57A6}">
      <dgm:prSet phldrT="[Text]"/>
      <dgm:spPr/>
      <dgm:t>
        <a:bodyPr/>
        <a:lstStyle/>
        <a:p>
          <a:endParaRPr lang="en-US" dirty="0"/>
        </a:p>
      </dgm:t>
    </dgm:pt>
    <dgm:pt modelId="{2C861104-8AB5-4B48-8EDA-7459A41456E0}" type="parTrans" cxnId="{075471CB-AF60-44F9-94EC-0B871FB6C18F}">
      <dgm:prSet/>
      <dgm:spPr/>
      <dgm:t>
        <a:bodyPr/>
        <a:lstStyle/>
        <a:p>
          <a:endParaRPr lang="en-US"/>
        </a:p>
      </dgm:t>
    </dgm:pt>
    <dgm:pt modelId="{1BD2B6C4-A8F7-4B51-876F-167BD068E348}" type="sibTrans" cxnId="{075471CB-AF60-44F9-94EC-0B871FB6C18F}">
      <dgm:prSet/>
      <dgm:spPr/>
      <dgm:t>
        <a:bodyPr/>
        <a:lstStyle/>
        <a:p>
          <a:endParaRPr lang="en-US"/>
        </a:p>
      </dgm:t>
    </dgm:pt>
    <dgm:pt modelId="{BF391E15-2904-439F-AADD-7FA2F259BAA0}">
      <dgm:prSet phldrT="[Text]"/>
      <dgm:spPr/>
      <dgm:t>
        <a:bodyPr/>
        <a:lstStyle/>
        <a:p>
          <a:r>
            <a:rPr lang="en-US" dirty="0"/>
            <a:t>Faster execution</a:t>
          </a:r>
        </a:p>
      </dgm:t>
    </dgm:pt>
    <dgm:pt modelId="{6FC8B47C-F142-44AB-BF58-073CA416A1B7}" type="parTrans" cxnId="{E8E98CBD-A99C-4DDF-A00E-69800AA4DC46}">
      <dgm:prSet/>
      <dgm:spPr/>
      <dgm:t>
        <a:bodyPr/>
        <a:lstStyle/>
        <a:p>
          <a:endParaRPr lang="en-US"/>
        </a:p>
      </dgm:t>
    </dgm:pt>
    <dgm:pt modelId="{B5FFFE9E-EC37-461B-823D-93724338D1EE}" type="sibTrans" cxnId="{E8E98CBD-A99C-4DDF-A00E-69800AA4DC46}">
      <dgm:prSet/>
      <dgm:spPr/>
      <dgm:t>
        <a:bodyPr/>
        <a:lstStyle/>
        <a:p>
          <a:endParaRPr lang="en-US"/>
        </a:p>
      </dgm:t>
    </dgm:pt>
    <dgm:pt modelId="{8F55BAC0-D65A-4106-B689-F610918C0B34}">
      <dgm:prSet phldrT="[Text]"/>
      <dgm:spPr/>
      <dgm:t>
        <a:bodyPr/>
        <a:lstStyle/>
        <a:p>
          <a:r>
            <a:rPr lang="en-US" dirty="0"/>
            <a:t>Flexible report feature</a:t>
          </a:r>
        </a:p>
      </dgm:t>
    </dgm:pt>
    <dgm:pt modelId="{1AB6488E-F4DB-404D-87F3-D0986D162EE0}" type="parTrans" cxnId="{5E265E9B-3F60-46A1-A04F-E4480A207E1D}">
      <dgm:prSet/>
      <dgm:spPr/>
      <dgm:t>
        <a:bodyPr/>
        <a:lstStyle/>
        <a:p>
          <a:endParaRPr lang="en-US"/>
        </a:p>
      </dgm:t>
    </dgm:pt>
    <dgm:pt modelId="{5A164C32-1EDE-4718-853F-55481D9AC877}" type="sibTrans" cxnId="{5E265E9B-3F60-46A1-A04F-E4480A207E1D}">
      <dgm:prSet/>
      <dgm:spPr/>
      <dgm:t>
        <a:bodyPr/>
        <a:lstStyle/>
        <a:p>
          <a:endParaRPr lang="en-US"/>
        </a:p>
      </dgm:t>
    </dgm:pt>
    <dgm:pt modelId="{BC2FDFE9-F00B-43F7-86C0-27A2D3DE639F}">
      <dgm:prSet phldrT="[Text]"/>
      <dgm:spPr/>
      <dgm:t>
        <a:bodyPr/>
        <a:lstStyle/>
        <a:p>
          <a:r>
            <a:rPr lang="en-US" dirty="0"/>
            <a:t>Do test automation at faster pace</a:t>
          </a:r>
        </a:p>
      </dgm:t>
    </dgm:pt>
    <dgm:pt modelId="{B1249128-3386-482A-BFFF-A6019D0563C6}" type="parTrans" cxnId="{3E7BC9FE-5195-489E-B5E9-7E809559903A}">
      <dgm:prSet/>
      <dgm:spPr/>
      <dgm:t>
        <a:bodyPr/>
        <a:lstStyle/>
        <a:p>
          <a:endParaRPr lang="en-US"/>
        </a:p>
      </dgm:t>
    </dgm:pt>
    <dgm:pt modelId="{BC3010CA-E301-4CA4-BD1C-0F82F55494F0}" type="sibTrans" cxnId="{3E7BC9FE-5195-489E-B5E9-7E809559903A}">
      <dgm:prSet/>
      <dgm:spPr/>
      <dgm:t>
        <a:bodyPr/>
        <a:lstStyle/>
        <a:p>
          <a:endParaRPr lang="en-US"/>
        </a:p>
      </dgm:t>
    </dgm:pt>
    <dgm:pt modelId="{93231798-2ABD-4667-8021-11ED2CFF27D6}">
      <dgm:prSet phldrT="[Text]"/>
      <dgm:spPr/>
      <dgm:t>
        <a:bodyPr/>
        <a:lstStyle/>
        <a:p>
          <a:r>
            <a:rPr lang="en-US" dirty="0"/>
            <a:t>Automatically captured the object locators</a:t>
          </a:r>
        </a:p>
      </dgm:t>
    </dgm:pt>
    <dgm:pt modelId="{BA54DAD6-5147-4396-9D33-E75AEE3D2BCD}" type="parTrans" cxnId="{EC67A6CA-9F3F-4F81-97F5-AF0C01DB492E}">
      <dgm:prSet/>
      <dgm:spPr/>
      <dgm:t>
        <a:bodyPr/>
        <a:lstStyle/>
        <a:p>
          <a:endParaRPr lang="en-US"/>
        </a:p>
      </dgm:t>
    </dgm:pt>
    <dgm:pt modelId="{58B257C7-22BA-41CF-9953-B20405839560}" type="sibTrans" cxnId="{EC67A6CA-9F3F-4F81-97F5-AF0C01DB492E}">
      <dgm:prSet/>
      <dgm:spPr/>
      <dgm:t>
        <a:bodyPr/>
        <a:lstStyle/>
        <a:p>
          <a:endParaRPr lang="en-US"/>
        </a:p>
      </dgm:t>
    </dgm:pt>
    <dgm:pt modelId="{67ACA868-3439-4165-A484-D81B0A0D154D}">
      <dgm:prSet phldrT="[Text]"/>
      <dgm:spPr/>
      <dgm:t>
        <a:bodyPr/>
        <a:lstStyle/>
        <a:p>
          <a:r>
            <a:rPr lang="en-US" dirty="0"/>
            <a:t>Static forms testing is easy</a:t>
          </a:r>
        </a:p>
      </dgm:t>
    </dgm:pt>
    <dgm:pt modelId="{D4FC6073-A770-4B78-A2FE-D33E75F74D78}" type="parTrans" cxnId="{0A76C15B-4DD3-4B10-860A-106DB2628731}">
      <dgm:prSet/>
      <dgm:spPr/>
      <dgm:t>
        <a:bodyPr/>
        <a:lstStyle/>
        <a:p>
          <a:endParaRPr lang="en-US"/>
        </a:p>
      </dgm:t>
    </dgm:pt>
    <dgm:pt modelId="{AF2AF153-52C5-47E5-B218-152CD466F9EA}" type="sibTrans" cxnId="{0A76C15B-4DD3-4B10-860A-106DB2628731}">
      <dgm:prSet/>
      <dgm:spPr/>
      <dgm:t>
        <a:bodyPr/>
        <a:lstStyle/>
        <a:p>
          <a:endParaRPr lang="en-US"/>
        </a:p>
      </dgm:t>
    </dgm:pt>
    <dgm:pt modelId="{206D9E41-87D6-4686-BCE3-23883CBBAE4A}" type="pres">
      <dgm:prSet presAssocID="{385EC85E-9467-4950-BADD-830533862975}" presName="Name0" presStyleCnt="0">
        <dgm:presLayoutVars>
          <dgm:dir/>
          <dgm:animLvl val="lvl"/>
          <dgm:resizeHandles val="exact"/>
        </dgm:presLayoutVars>
      </dgm:prSet>
      <dgm:spPr/>
    </dgm:pt>
    <dgm:pt modelId="{E885D208-D82D-4BD9-A3A1-6BFE2553C087}" type="pres">
      <dgm:prSet presAssocID="{E70E9467-94F1-4A73-9389-2BD41B027D6A}" presName="composite" presStyleCnt="0"/>
      <dgm:spPr/>
    </dgm:pt>
    <dgm:pt modelId="{BF82C4C0-3837-483F-91EF-4EB39D835990}" type="pres">
      <dgm:prSet presAssocID="{E70E9467-94F1-4A73-9389-2BD41B027D6A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</dgm:pt>
    <dgm:pt modelId="{AF375C4E-087F-4C42-BFBB-4B985FC19630}" type="pres">
      <dgm:prSet presAssocID="{E70E9467-94F1-4A73-9389-2BD41B027D6A}" presName="desTx" presStyleLbl="alignAccFollowNode1" presStyleIdx="0" presStyleCnt="4">
        <dgm:presLayoutVars>
          <dgm:bulletEnabled val="1"/>
        </dgm:presLayoutVars>
      </dgm:prSet>
      <dgm:spPr/>
    </dgm:pt>
    <dgm:pt modelId="{2138B4D8-1A3A-4C87-B109-35B0C977754E}" type="pres">
      <dgm:prSet presAssocID="{43016795-5FE7-4887-8C26-97BD44168DE5}" presName="space" presStyleCnt="0"/>
      <dgm:spPr/>
    </dgm:pt>
    <dgm:pt modelId="{FBD78F79-7CA1-4B55-BFB9-35521098309E}" type="pres">
      <dgm:prSet presAssocID="{42CF211C-C4D3-4BAA-9198-291FBAAE01F5}" presName="composite" presStyleCnt="0"/>
      <dgm:spPr/>
    </dgm:pt>
    <dgm:pt modelId="{36F78603-3D36-4F45-9186-9F8ABAED8920}" type="pres">
      <dgm:prSet presAssocID="{42CF211C-C4D3-4BAA-9198-291FBAAE01F5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</dgm:pt>
    <dgm:pt modelId="{E298ED86-65A2-4F25-B00E-5A43FD0EA44D}" type="pres">
      <dgm:prSet presAssocID="{42CF211C-C4D3-4BAA-9198-291FBAAE01F5}" presName="desTx" presStyleLbl="alignAccFollowNode1" presStyleIdx="1" presStyleCnt="4" custLinFactNeighborY="-1600">
        <dgm:presLayoutVars>
          <dgm:bulletEnabled val="1"/>
        </dgm:presLayoutVars>
      </dgm:prSet>
      <dgm:spPr/>
    </dgm:pt>
    <dgm:pt modelId="{7B890780-72E2-4D39-87CB-C57DDD938A2B}" type="pres">
      <dgm:prSet presAssocID="{935FB07B-C4F3-4FF3-A249-36CA53BE5A84}" presName="space" presStyleCnt="0"/>
      <dgm:spPr/>
    </dgm:pt>
    <dgm:pt modelId="{FEFDEF03-16E3-412C-9F1B-575B086B5B29}" type="pres">
      <dgm:prSet presAssocID="{F21FA1D6-5FA6-471B-985A-DE5DDB645918}" presName="composite" presStyleCnt="0"/>
      <dgm:spPr/>
    </dgm:pt>
    <dgm:pt modelId="{C3D05E81-BA92-43EA-9280-E606350D2775}" type="pres">
      <dgm:prSet presAssocID="{F21FA1D6-5FA6-471B-985A-DE5DDB645918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</dgm:pt>
    <dgm:pt modelId="{C924EE63-177B-4ADE-9747-82A8E2A7E194}" type="pres">
      <dgm:prSet presAssocID="{F21FA1D6-5FA6-471B-985A-DE5DDB645918}" presName="desTx" presStyleLbl="alignAccFollowNode1" presStyleIdx="2" presStyleCnt="4">
        <dgm:presLayoutVars>
          <dgm:bulletEnabled val="1"/>
        </dgm:presLayoutVars>
      </dgm:prSet>
      <dgm:spPr/>
    </dgm:pt>
    <dgm:pt modelId="{0C063FAF-9A6F-41C0-9373-B2BDC828763F}" type="pres">
      <dgm:prSet presAssocID="{07EBCB5E-553C-4C09-ADE8-8B1275BAC5DB}" presName="space" presStyleCnt="0"/>
      <dgm:spPr/>
    </dgm:pt>
    <dgm:pt modelId="{F32914EE-D123-4AA9-BEB5-9286543B5645}" type="pres">
      <dgm:prSet presAssocID="{4FECA7C3-008F-4B93-9A2D-9D3D1FB570C4}" presName="composite" presStyleCnt="0"/>
      <dgm:spPr/>
    </dgm:pt>
    <dgm:pt modelId="{7C8F564B-A690-40F9-A496-17B5AA335855}" type="pres">
      <dgm:prSet presAssocID="{4FECA7C3-008F-4B93-9A2D-9D3D1FB570C4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</dgm:pt>
    <dgm:pt modelId="{201D7ECF-A088-42EF-B6FC-40A1E12E0183}" type="pres">
      <dgm:prSet presAssocID="{4FECA7C3-008F-4B93-9A2D-9D3D1FB570C4}" presName="desTx" presStyleLbl="alignAccFollowNode1" presStyleIdx="3" presStyleCnt="4">
        <dgm:presLayoutVars>
          <dgm:bulletEnabled val="1"/>
        </dgm:presLayoutVars>
      </dgm:prSet>
      <dgm:spPr/>
    </dgm:pt>
  </dgm:ptLst>
  <dgm:cxnLst>
    <dgm:cxn modelId="{26855201-AB1C-4775-9BDB-683FF53D31E3}" type="presOf" srcId="{A184C0B2-8285-4B7E-985C-D859FF048C64}" destId="{AF375C4E-087F-4C42-BFBB-4B985FC19630}" srcOrd="0" destOrd="1" presId="urn:microsoft.com/office/officeart/2005/8/layout/hList1"/>
    <dgm:cxn modelId="{F5713803-3263-49E4-BB63-FA718DA3A589}" type="presOf" srcId="{B2DA9857-3A26-46FB-BA10-740D9C81C484}" destId="{E298ED86-65A2-4F25-B00E-5A43FD0EA44D}" srcOrd="0" destOrd="1" presId="urn:microsoft.com/office/officeart/2005/8/layout/hList1"/>
    <dgm:cxn modelId="{E3664808-8AFE-4C21-B0C7-13FE85121227}" type="presOf" srcId="{FBEAC2EF-85DF-4F37-9427-CA39467008B3}" destId="{AF375C4E-087F-4C42-BFBB-4B985FC19630}" srcOrd="0" destOrd="5" presId="urn:microsoft.com/office/officeart/2005/8/layout/hList1"/>
    <dgm:cxn modelId="{A515F81B-DFA1-4197-98A0-319F82B9842E}" srcId="{E70E9467-94F1-4A73-9389-2BD41B027D6A}" destId="{48EA9AA4-BE56-4CF4-9AF5-929C8F9322A9}" srcOrd="3" destOrd="0" parTransId="{C78E186F-C406-4E81-B35E-331FBE199A73}" sibTransId="{23386099-1972-4E0A-A01B-8BCFC7431CE1}"/>
    <dgm:cxn modelId="{5A56AB1C-3CAC-4BD7-AC84-49C96E6F73CA}" srcId="{E70E9467-94F1-4A73-9389-2BD41B027D6A}" destId="{FBEAC2EF-85DF-4F37-9427-CA39467008B3}" srcOrd="5" destOrd="0" parTransId="{DA4EE488-E46B-4F38-9B1B-AD9A2B4F0829}" sibTransId="{B6896C48-598A-43B0-8A3E-50BA11C75A46}"/>
    <dgm:cxn modelId="{6BD7AC1D-F2A6-4127-B161-59FF1847C13B}" srcId="{4FECA7C3-008F-4B93-9A2D-9D3D1FB570C4}" destId="{ABB352E5-E415-492F-8190-4815EF4D39B2}" srcOrd="0" destOrd="0" parTransId="{C2A07BE5-59B8-4F7E-8F0D-CF1DD865D31F}" sibTransId="{F1211209-52B4-4E86-AD2D-82067D575E6D}"/>
    <dgm:cxn modelId="{8CD7631F-1CC5-42EB-8DE0-4B8B4067BA55}" srcId="{E70E9467-94F1-4A73-9389-2BD41B027D6A}" destId="{55B15AE2-53D4-4624-AAEF-4EA9E6D8323E}" srcOrd="8" destOrd="0" parTransId="{D91A5862-0582-4243-B7D3-FB3EB00E0371}" sibTransId="{884BAE47-6017-467F-83BC-59BCAC758A3A}"/>
    <dgm:cxn modelId="{AD09E71F-810E-420A-B370-B25C15759D80}" type="presOf" srcId="{67ACA868-3439-4165-A484-D81B0A0D154D}" destId="{AF375C4E-087F-4C42-BFBB-4B985FC19630}" srcOrd="0" destOrd="10" presId="urn:microsoft.com/office/officeart/2005/8/layout/hList1"/>
    <dgm:cxn modelId="{F6129520-7571-4EB4-AF20-BC4DB056AF51}" type="presOf" srcId="{55B15AE2-53D4-4624-AAEF-4EA9E6D8323E}" destId="{AF375C4E-087F-4C42-BFBB-4B985FC19630}" srcOrd="0" destOrd="8" presId="urn:microsoft.com/office/officeart/2005/8/layout/hList1"/>
    <dgm:cxn modelId="{DBC01A23-5393-462F-8AE9-009A0812D28A}" srcId="{E70E9467-94F1-4A73-9389-2BD41B027D6A}" destId="{FF4F50C4-19FC-45A1-B435-48E6F62E2461}" srcOrd="4" destOrd="0" parTransId="{3533672B-ECA7-4C41-A275-586434C0F4F9}" sibTransId="{AD15B933-1289-4D7E-AA1E-7C617B4823AD}"/>
    <dgm:cxn modelId="{3F715E23-DB9D-4547-8F99-044EA9CC7EBF}" type="presOf" srcId="{818BDD79-3DA0-42BE-A6CB-7242CD960DEC}" destId="{AF375C4E-087F-4C42-BFBB-4B985FC19630}" srcOrd="0" destOrd="6" presId="urn:microsoft.com/office/officeart/2005/8/layout/hList1"/>
    <dgm:cxn modelId="{07F43930-D87E-45E2-B949-59CF7FA3F994}" srcId="{385EC85E-9467-4950-BADD-830533862975}" destId="{E70E9467-94F1-4A73-9389-2BD41B027D6A}" srcOrd="0" destOrd="0" parTransId="{308B2EE8-7DC1-4883-853D-610FD691B85E}" sibTransId="{43016795-5FE7-4887-8C26-97BD44168DE5}"/>
    <dgm:cxn modelId="{21D65E37-1087-4FEC-A1D5-41BA69BA0BFF}" srcId="{E70E9467-94F1-4A73-9389-2BD41B027D6A}" destId="{CE1B9E9B-54DF-405D-ABEF-68BBAE665DC9}" srcOrd="11" destOrd="0" parTransId="{79464CDD-EF6C-46FA-9320-08AF3E43D53F}" sibTransId="{3DA248B9-C9BA-4D48-9A8F-A738C600454C}"/>
    <dgm:cxn modelId="{F60CFD3A-D66D-483B-AE44-C1917807B07B}" type="presOf" srcId="{BF391E15-2904-439F-AADD-7FA2F259BAA0}" destId="{C924EE63-177B-4ADE-9747-82A8E2A7E194}" srcOrd="0" destOrd="2" presId="urn:microsoft.com/office/officeart/2005/8/layout/hList1"/>
    <dgm:cxn modelId="{A1BB633E-679C-4881-8B6B-522E7BA3F8DE}" type="presOf" srcId="{CE1B9E9B-54DF-405D-ABEF-68BBAE665DC9}" destId="{AF375C4E-087F-4C42-BFBB-4B985FC19630}" srcOrd="0" destOrd="11" presId="urn:microsoft.com/office/officeart/2005/8/layout/hList1"/>
    <dgm:cxn modelId="{0A76C15B-4DD3-4B10-860A-106DB2628731}" srcId="{E70E9467-94F1-4A73-9389-2BD41B027D6A}" destId="{67ACA868-3439-4165-A484-D81B0A0D154D}" srcOrd="10" destOrd="0" parTransId="{D4FC6073-A770-4B78-A2FE-D33E75F74D78}" sibTransId="{AF2AF153-52C5-47E5-B218-152CD466F9EA}"/>
    <dgm:cxn modelId="{7E2F3441-4B44-4520-9CA9-22A593918F42}" type="presOf" srcId="{58AB0136-ADB7-41B2-9626-ED3443C244FB}" destId="{AF375C4E-087F-4C42-BFBB-4B985FC19630}" srcOrd="0" destOrd="0" presId="urn:microsoft.com/office/officeart/2005/8/layout/hList1"/>
    <dgm:cxn modelId="{6AEA3B42-D423-4999-8983-E36667EB7586}" type="presOf" srcId="{93231798-2ABD-4667-8021-11ED2CFF27D6}" destId="{AF375C4E-087F-4C42-BFBB-4B985FC19630}" srcOrd="0" destOrd="9" presId="urn:microsoft.com/office/officeart/2005/8/layout/hList1"/>
    <dgm:cxn modelId="{15BC8342-9E88-4426-B03E-0B7EB77143BA}" type="presOf" srcId="{F21FA1D6-5FA6-471B-985A-DE5DDB645918}" destId="{C3D05E81-BA92-43EA-9280-E606350D2775}" srcOrd="0" destOrd="0" presId="urn:microsoft.com/office/officeart/2005/8/layout/hList1"/>
    <dgm:cxn modelId="{91AFBF45-921E-4ED4-9F01-F57F2FB9B773}" type="presOf" srcId="{694B97B5-8993-4E09-AF27-3111E8FF57A6}" destId="{C924EE63-177B-4ADE-9747-82A8E2A7E194}" srcOrd="0" destOrd="4" presId="urn:microsoft.com/office/officeart/2005/8/layout/hList1"/>
    <dgm:cxn modelId="{28416547-D8BE-494D-8C62-48844A0F672A}" type="presOf" srcId="{4FECA7C3-008F-4B93-9A2D-9D3D1FB570C4}" destId="{7C8F564B-A690-40F9-A496-17B5AA335855}" srcOrd="0" destOrd="0" presId="urn:microsoft.com/office/officeart/2005/8/layout/hList1"/>
    <dgm:cxn modelId="{E317374D-113B-4EAF-840B-B357D200DE14}" srcId="{F21FA1D6-5FA6-471B-985A-DE5DDB645918}" destId="{22CFDE32-CF31-4031-B035-36C67C8D1CAD}" srcOrd="1" destOrd="0" parTransId="{6EC5A84F-53D6-4839-8AA0-11887046745A}" sibTransId="{19792830-421E-468F-889F-606DDCC3B363}"/>
    <dgm:cxn modelId="{06BB856D-DF46-4DD2-8BAD-883BA6D4CE9A}" type="presOf" srcId="{22CFDE32-CF31-4031-B035-36C67C8D1CAD}" destId="{C924EE63-177B-4ADE-9747-82A8E2A7E194}" srcOrd="0" destOrd="1" presId="urn:microsoft.com/office/officeart/2005/8/layout/hList1"/>
    <dgm:cxn modelId="{4C296654-A984-493F-9CCD-69CD58F2997A}" srcId="{42CF211C-C4D3-4BAA-9198-291FBAAE01F5}" destId="{B2DA9857-3A26-46FB-BA10-740D9C81C484}" srcOrd="1" destOrd="0" parTransId="{49574EEF-AB49-4318-8B03-22C9F22006ED}" sibTransId="{0ECCB59F-FE2A-47DD-AC4E-A5B2B13D7439}"/>
    <dgm:cxn modelId="{6A5F1A77-4B2A-450D-BF64-7B80A6260351}" type="presOf" srcId="{BB709FEC-8290-492D-8EBD-C598AF951D56}" destId="{C924EE63-177B-4ADE-9747-82A8E2A7E194}" srcOrd="0" destOrd="0" presId="urn:microsoft.com/office/officeart/2005/8/layout/hList1"/>
    <dgm:cxn modelId="{5A920A78-919B-4624-AA4A-A00C7D7E323A}" type="presOf" srcId="{EEBD9BBC-55B8-4FD3-8299-66C00177B6BA}" destId="{201D7ECF-A088-42EF-B6FC-40A1E12E0183}" srcOrd="0" destOrd="1" presId="urn:microsoft.com/office/officeart/2005/8/layout/hList1"/>
    <dgm:cxn modelId="{D840CD58-12B2-41B1-90AB-204FB075E0E0}" type="presOf" srcId="{ABB352E5-E415-492F-8190-4815EF4D39B2}" destId="{201D7ECF-A088-42EF-B6FC-40A1E12E0183}" srcOrd="0" destOrd="0" presId="urn:microsoft.com/office/officeart/2005/8/layout/hList1"/>
    <dgm:cxn modelId="{DCAE3259-4653-42F0-8CBC-EF0D37C002B5}" srcId="{385EC85E-9467-4950-BADD-830533862975}" destId="{F21FA1D6-5FA6-471B-985A-DE5DDB645918}" srcOrd="2" destOrd="0" parTransId="{B118A24E-D660-44E6-B3B1-71BD1601C806}" sibTransId="{07EBCB5E-553C-4C09-ADE8-8B1275BAC5DB}"/>
    <dgm:cxn modelId="{72EDCE79-A32D-49DD-9AA1-AC6DCC92CA0A}" srcId="{E70E9467-94F1-4A73-9389-2BD41B027D6A}" destId="{E71543C0-70D3-46B5-9703-FB2F9590D740}" srcOrd="2" destOrd="0" parTransId="{38C0FCBA-75F5-400B-A693-61229277EAD1}" sibTransId="{B9177ABE-E69C-43E7-BB33-C59EE9178E78}"/>
    <dgm:cxn modelId="{3DF2C681-831F-437E-AF87-5724A698B4D5}" srcId="{4FECA7C3-008F-4B93-9A2D-9D3D1FB570C4}" destId="{EEBD9BBC-55B8-4FD3-8299-66C00177B6BA}" srcOrd="1" destOrd="0" parTransId="{0FA1CD69-37C9-4379-8CAE-BB0436D00944}" sibTransId="{F5B92CD2-D5CB-484E-BF43-D212F5690476}"/>
    <dgm:cxn modelId="{9F888183-23AF-4B21-A346-A1AD111B9461}" type="presOf" srcId="{E71543C0-70D3-46B5-9703-FB2F9590D740}" destId="{AF375C4E-087F-4C42-BFBB-4B985FC19630}" srcOrd="0" destOrd="2" presId="urn:microsoft.com/office/officeart/2005/8/layout/hList1"/>
    <dgm:cxn modelId="{A290F785-CEF9-4725-B88B-6813599B99D4}" srcId="{42CF211C-C4D3-4BAA-9198-291FBAAE01F5}" destId="{9040D1C8-F01A-4373-88D4-616C582C0D3F}" srcOrd="0" destOrd="0" parTransId="{AC72B872-012F-405B-9662-262B317E410A}" sibTransId="{0D9282E1-EDDF-4165-BD39-4709212C8648}"/>
    <dgm:cxn modelId="{B36A2C88-6846-4EB9-946F-97F25CE99FFB}" srcId="{F21FA1D6-5FA6-471B-985A-DE5DDB645918}" destId="{BB709FEC-8290-492D-8EBD-C598AF951D56}" srcOrd="0" destOrd="0" parTransId="{9A02229E-56DE-44A8-BC1F-52BCF439DEE0}" sibTransId="{E94E202B-6ED8-4AA8-8232-2776BBD73F91}"/>
    <dgm:cxn modelId="{B7C9088F-B36B-414D-BFD6-47B6919F3B6B}" srcId="{E70E9467-94F1-4A73-9389-2BD41B027D6A}" destId="{71F1F3AA-4072-44E3-A116-E71E088AA39D}" srcOrd="7" destOrd="0" parTransId="{9A7B9960-FF3A-4DCE-ADC9-E4B780718726}" sibTransId="{2FE7AA31-897B-434A-82F4-40F0FF46EEBC}"/>
    <dgm:cxn modelId="{5E265E9B-3F60-46A1-A04F-E4480A207E1D}" srcId="{F21FA1D6-5FA6-471B-985A-DE5DDB645918}" destId="{8F55BAC0-D65A-4106-B689-F610918C0B34}" srcOrd="3" destOrd="0" parTransId="{1AB6488E-F4DB-404D-87F3-D0986D162EE0}" sibTransId="{5A164C32-1EDE-4718-853F-55481D9AC877}"/>
    <dgm:cxn modelId="{7A955D9D-46FD-4FCD-91F2-38368F2E9ECB}" srcId="{42CF211C-C4D3-4BAA-9198-291FBAAE01F5}" destId="{9B096BA5-E1EC-42F4-B088-FD1C5DC21643}" srcOrd="2" destOrd="0" parTransId="{D1F36733-109B-45E4-B244-037ADD14073C}" sibTransId="{DCCA6E9D-41D9-40A8-843F-14592BB7F512}"/>
    <dgm:cxn modelId="{E8E98CBD-A99C-4DDF-A00E-69800AA4DC46}" srcId="{F21FA1D6-5FA6-471B-985A-DE5DDB645918}" destId="{BF391E15-2904-439F-AADD-7FA2F259BAA0}" srcOrd="2" destOrd="0" parTransId="{6FC8B47C-F142-44AB-BF58-073CA416A1B7}" sibTransId="{B5FFFE9E-EC37-461B-823D-93724338D1EE}"/>
    <dgm:cxn modelId="{9C45A7C3-26A5-4E17-8D06-A58A9874B2B2}" type="presOf" srcId="{48EA9AA4-BE56-4CF4-9AF5-929C8F9322A9}" destId="{AF375C4E-087F-4C42-BFBB-4B985FC19630}" srcOrd="0" destOrd="3" presId="urn:microsoft.com/office/officeart/2005/8/layout/hList1"/>
    <dgm:cxn modelId="{EC67A6CA-9F3F-4F81-97F5-AF0C01DB492E}" srcId="{E70E9467-94F1-4A73-9389-2BD41B027D6A}" destId="{93231798-2ABD-4667-8021-11ED2CFF27D6}" srcOrd="9" destOrd="0" parTransId="{BA54DAD6-5147-4396-9D33-E75AEE3D2BCD}" sibTransId="{58B257C7-22BA-41CF-9953-B20405839560}"/>
    <dgm:cxn modelId="{7A8AAACA-DE75-48CF-A27A-40EB5409FB59}" srcId="{385EC85E-9467-4950-BADD-830533862975}" destId="{4FECA7C3-008F-4B93-9A2D-9D3D1FB570C4}" srcOrd="3" destOrd="0" parTransId="{0FCB2592-4490-48A9-A0BB-A369A4B0EADD}" sibTransId="{96015FB6-3B9B-41C4-8D7F-645F06968D18}"/>
    <dgm:cxn modelId="{075471CB-AF60-44F9-94EC-0B871FB6C18F}" srcId="{F21FA1D6-5FA6-471B-985A-DE5DDB645918}" destId="{694B97B5-8993-4E09-AF27-3111E8FF57A6}" srcOrd="4" destOrd="0" parTransId="{2C861104-8AB5-4B48-8EDA-7459A41456E0}" sibTransId="{1BD2B6C4-A8F7-4B51-876F-167BD068E348}"/>
    <dgm:cxn modelId="{1DDC29CC-3E8B-4E38-B386-3C0A112EFED1}" srcId="{E70E9467-94F1-4A73-9389-2BD41B027D6A}" destId="{818BDD79-3DA0-42BE-A6CB-7242CD960DEC}" srcOrd="6" destOrd="0" parTransId="{5634EBE4-F7D3-4889-8BAC-5220F9F98DF6}" sibTransId="{6DA8F99A-0C1A-4750-BE77-5F55411C24AB}"/>
    <dgm:cxn modelId="{F38997CD-1C21-4DA1-A00B-8BA261147B95}" type="presOf" srcId="{42CF211C-C4D3-4BAA-9198-291FBAAE01F5}" destId="{36F78603-3D36-4F45-9186-9F8ABAED8920}" srcOrd="0" destOrd="0" presId="urn:microsoft.com/office/officeart/2005/8/layout/hList1"/>
    <dgm:cxn modelId="{5CAF25CE-2A1A-4140-8A76-2A4E3C365A89}" srcId="{E70E9467-94F1-4A73-9389-2BD41B027D6A}" destId="{A184C0B2-8285-4B7E-985C-D859FF048C64}" srcOrd="1" destOrd="0" parTransId="{C2D8D3AB-1DEC-4084-8C74-D5816B32CCBA}" sibTransId="{6BA68892-A9AB-49FE-B222-E61641EC1877}"/>
    <dgm:cxn modelId="{8D26BBD1-0EEE-40CF-B831-95E767283117}" type="presOf" srcId="{8F55BAC0-D65A-4106-B689-F610918C0B34}" destId="{C924EE63-177B-4ADE-9747-82A8E2A7E194}" srcOrd="0" destOrd="3" presId="urn:microsoft.com/office/officeart/2005/8/layout/hList1"/>
    <dgm:cxn modelId="{C3C2F3D6-045C-4A12-B09B-C32BDB988463}" type="presOf" srcId="{FF4F50C4-19FC-45A1-B435-48E6F62E2461}" destId="{AF375C4E-087F-4C42-BFBB-4B985FC19630}" srcOrd="0" destOrd="4" presId="urn:microsoft.com/office/officeart/2005/8/layout/hList1"/>
    <dgm:cxn modelId="{34C0C3D8-9EF1-4707-B929-9E5B2FA67260}" type="presOf" srcId="{E70E9467-94F1-4A73-9389-2BD41B027D6A}" destId="{BF82C4C0-3837-483F-91EF-4EB39D835990}" srcOrd="0" destOrd="0" presId="urn:microsoft.com/office/officeart/2005/8/layout/hList1"/>
    <dgm:cxn modelId="{29CC83DC-6874-4C58-BC2B-A402EB668466}" type="presOf" srcId="{9B096BA5-E1EC-42F4-B088-FD1C5DC21643}" destId="{E298ED86-65A2-4F25-B00E-5A43FD0EA44D}" srcOrd="0" destOrd="2" presId="urn:microsoft.com/office/officeart/2005/8/layout/hList1"/>
    <dgm:cxn modelId="{152EA7DD-1C8B-45ED-AC27-C82F42CFB0D2}" type="presOf" srcId="{BC2FDFE9-F00B-43F7-86C0-27A2D3DE639F}" destId="{201D7ECF-A088-42EF-B6FC-40A1E12E0183}" srcOrd="0" destOrd="2" presId="urn:microsoft.com/office/officeart/2005/8/layout/hList1"/>
    <dgm:cxn modelId="{F42797E0-C873-422B-8F92-64C4CEAA06E2}" type="presOf" srcId="{9040D1C8-F01A-4373-88D4-616C582C0D3F}" destId="{E298ED86-65A2-4F25-B00E-5A43FD0EA44D}" srcOrd="0" destOrd="0" presId="urn:microsoft.com/office/officeart/2005/8/layout/hList1"/>
    <dgm:cxn modelId="{8D9D2FFC-3BD2-4FCA-BDC6-63D8A15556A3}" srcId="{E70E9467-94F1-4A73-9389-2BD41B027D6A}" destId="{58AB0136-ADB7-41B2-9626-ED3443C244FB}" srcOrd="0" destOrd="0" parTransId="{B6C4B63B-FC58-430D-AD88-BA83223F44C1}" sibTransId="{DF965834-0DF6-4977-8BE6-DD00EC3B53D0}"/>
    <dgm:cxn modelId="{68EB91FD-C3B1-4937-A1AF-0EC72AB0CE3C}" type="presOf" srcId="{71F1F3AA-4072-44E3-A116-E71E088AA39D}" destId="{AF375C4E-087F-4C42-BFBB-4B985FC19630}" srcOrd="0" destOrd="7" presId="urn:microsoft.com/office/officeart/2005/8/layout/hList1"/>
    <dgm:cxn modelId="{EC1DCAFD-1FBA-4419-8AC8-C3CE117194E4}" srcId="{385EC85E-9467-4950-BADD-830533862975}" destId="{42CF211C-C4D3-4BAA-9198-291FBAAE01F5}" srcOrd="1" destOrd="0" parTransId="{C427FF45-DB50-4B15-B7A6-81DAF612F8D0}" sibTransId="{935FB07B-C4F3-4FF3-A249-36CA53BE5A84}"/>
    <dgm:cxn modelId="{3E7BC9FE-5195-489E-B5E9-7E809559903A}" srcId="{4FECA7C3-008F-4B93-9A2D-9D3D1FB570C4}" destId="{BC2FDFE9-F00B-43F7-86C0-27A2D3DE639F}" srcOrd="2" destOrd="0" parTransId="{B1249128-3386-482A-BFFF-A6019D0563C6}" sibTransId="{BC3010CA-E301-4CA4-BD1C-0F82F55494F0}"/>
    <dgm:cxn modelId="{6C2AECFF-B15F-4C3A-A5C1-7BB0C0989122}" type="presOf" srcId="{385EC85E-9467-4950-BADD-830533862975}" destId="{206D9E41-87D6-4686-BCE3-23883CBBAE4A}" srcOrd="0" destOrd="0" presId="urn:microsoft.com/office/officeart/2005/8/layout/hList1"/>
    <dgm:cxn modelId="{775246F1-6412-4FF1-B527-29B92EBAF256}" type="presParOf" srcId="{206D9E41-87D6-4686-BCE3-23883CBBAE4A}" destId="{E885D208-D82D-4BD9-A3A1-6BFE2553C087}" srcOrd="0" destOrd="0" presId="urn:microsoft.com/office/officeart/2005/8/layout/hList1"/>
    <dgm:cxn modelId="{A9D1F518-058E-40E9-870A-07933C0A6189}" type="presParOf" srcId="{E885D208-D82D-4BD9-A3A1-6BFE2553C087}" destId="{BF82C4C0-3837-483F-91EF-4EB39D835990}" srcOrd="0" destOrd="0" presId="urn:microsoft.com/office/officeart/2005/8/layout/hList1"/>
    <dgm:cxn modelId="{E3F35A53-A9EA-4609-9E60-E5F6123A4C43}" type="presParOf" srcId="{E885D208-D82D-4BD9-A3A1-6BFE2553C087}" destId="{AF375C4E-087F-4C42-BFBB-4B985FC19630}" srcOrd="1" destOrd="0" presId="urn:microsoft.com/office/officeart/2005/8/layout/hList1"/>
    <dgm:cxn modelId="{2D972EA8-6B4B-41E2-98B9-53BC7079B84E}" type="presParOf" srcId="{206D9E41-87D6-4686-BCE3-23883CBBAE4A}" destId="{2138B4D8-1A3A-4C87-B109-35B0C977754E}" srcOrd="1" destOrd="0" presId="urn:microsoft.com/office/officeart/2005/8/layout/hList1"/>
    <dgm:cxn modelId="{6329E2BE-C261-4740-9694-EE51AF284ECF}" type="presParOf" srcId="{206D9E41-87D6-4686-BCE3-23883CBBAE4A}" destId="{FBD78F79-7CA1-4B55-BFB9-35521098309E}" srcOrd="2" destOrd="0" presId="urn:microsoft.com/office/officeart/2005/8/layout/hList1"/>
    <dgm:cxn modelId="{A76D1052-B399-4129-AB76-69318EC256AE}" type="presParOf" srcId="{FBD78F79-7CA1-4B55-BFB9-35521098309E}" destId="{36F78603-3D36-4F45-9186-9F8ABAED8920}" srcOrd="0" destOrd="0" presId="urn:microsoft.com/office/officeart/2005/8/layout/hList1"/>
    <dgm:cxn modelId="{3B8A6BC0-324F-40A8-828C-BD4F48D8BC84}" type="presParOf" srcId="{FBD78F79-7CA1-4B55-BFB9-35521098309E}" destId="{E298ED86-65A2-4F25-B00E-5A43FD0EA44D}" srcOrd="1" destOrd="0" presId="urn:microsoft.com/office/officeart/2005/8/layout/hList1"/>
    <dgm:cxn modelId="{E056FE3A-275F-409C-A459-4D9F06205070}" type="presParOf" srcId="{206D9E41-87D6-4686-BCE3-23883CBBAE4A}" destId="{7B890780-72E2-4D39-87CB-C57DDD938A2B}" srcOrd="3" destOrd="0" presId="urn:microsoft.com/office/officeart/2005/8/layout/hList1"/>
    <dgm:cxn modelId="{E1C22F87-2D6F-4F2A-AB1A-D17A22010E96}" type="presParOf" srcId="{206D9E41-87D6-4686-BCE3-23883CBBAE4A}" destId="{FEFDEF03-16E3-412C-9F1B-575B086B5B29}" srcOrd="4" destOrd="0" presId="urn:microsoft.com/office/officeart/2005/8/layout/hList1"/>
    <dgm:cxn modelId="{593C7A44-4CA9-4969-82C2-71B903C7ED89}" type="presParOf" srcId="{FEFDEF03-16E3-412C-9F1B-575B086B5B29}" destId="{C3D05E81-BA92-43EA-9280-E606350D2775}" srcOrd="0" destOrd="0" presId="urn:microsoft.com/office/officeart/2005/8/layout/hList1"/>
    <dgm:cxn modelId="{4A71AC99-F204-409F-80FD-595039E00A2A}" type="presParOf" srcId="{FEFDEF03-16E3-412C-9F1B-575B086B5B29}" destId="{C924EE63-177B-4ADE-9747-82A8E2A7E194}" srcOrd="1" destOrd="0" presId="urn:microsoft.com/office/officeart/2005/8/layout/hList1"/>
    <dgm:cxn modelId="{3DC8E93C-E288-4BD4-BE5A-D10D9F2FE2D4}" type="presParOf" srcId="{206D9E41-87D6-4686-BCE3-23883CBBAE4A}" destId="{0C063FAF-9A6F-41C0-9373-B2BDC828763F}" srcOrd="5" destOrd="0" presId="urn:microsoft.com/office/officeart/2005/8/layout/hList1"/>
    <dgm:cxn modelId="{E8D99539-DCDF-4E59-A89F-242FAF6E3B2E}" type="presParOf" srcId="{206D9E41-87D6-4686-BCE3-23883CBBAE4A}" destId="{F32914EE-D123-4AA9-BEB5-9286543B5645}" srcOrd="6" destOrd="0" presId="urn:microsoft.com/office/officeart/2005/8/layout/hList1"/>
    <dgm:cxn modelId="{46A2BAD1-6CE2-49FF-B538-D9BB1B09F7C8}" type="presParOf" srcId="{F32914EE-D123-4AA9-BEB5-9286543B5645}" destId="{7C8F564B-A690-40F9-A496-17B5AA335855}" srcOrd="0" destOrd="0" presId="urn:microsoft.com/office/officeart/2005/8/layout/hList1"/>
    <dgm:cxn modelId="{971CAA39-FFC2-462F-8E1F-595FACD3E1DC}" type="presParOf" srcId="{F32914EE-D123-4AA9-BEB5-9286543B5645}" destId="{201D7ECF-A088-42EF-B6FC-40A1E12E0183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82C4C0-3837-483F-91EF-4EB39D835990}">
      <dsp:nvSpPr>
        <dsp:cNvPr id="0" name=""/>
        <dsp:cNvSpPr/>
      </dsp:nvSpPr>
      <dsp:spPr>
        <a:xfrm>
          <a:off x="4288" y="123002"/>
          <a:ext cx="2578439" cy="3744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Overall Benefits</a:t>
          </a:r>
        </a:p>
      </dsp:txBody>
      <dsp:txXfrm>
        <a:off x="4288" y="123002"/>
        <a:ext cx="2578439" cy="374400"/>
      </dsp:txXfrm>
    </dsp:sp>
    <dsp:sp modelId="{AF375C4E-087F-4C42-BFBB-4B985FC19630}">
      <dsp:nvSpPr>
        <dsp:cNvPr id="0" name=""/>
        <dsp:cNvSpPr/>
      </dsp:nvSpPr>
      <dsp:spPr>
        <a:xfrm>
          <a:off x="4288" y="497402"/>
          <a:ext cx="2578439" cy="47104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Works across all the P&amp;C insurance platform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Support Agile development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Support Functional and Regression Automation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Support Web and API testing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Support Cross Browser testing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40-50% effort reduction in script development saves the project overall timelines with maximum automation coverage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 20-25% effort reduction in test design phase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Flexible execution reports with screen recording feature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No Synchronization issues as the framework handles it automatically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Automatically captured the object locator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Static forms testing is easy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Less execution time comparing to other frameworks</a:t>
          </a:r>
        </a:p>
      </dsp:txBody>
      <dsp:txXfrm>
        <a:off x="4288" y="497402"/>
        <a:ext cx="2578439" cy="4710420"/>
      </dsp:txXfrm>
    </dsp:sp>
    <dsp:sp modelId="{36F78603-3D36-4F45-9186-9F8ABAED8920}">
      <dsp:nvSpPr>
        <dsp:cNvPr id="0" name=""/>
        <dsp:cNvSpPr/>
      </dsp:nvSpPr>
      <dsp:spPr>
        <a:xfrm>
          <a:off x="2943708" y="123002"/>
          <a:ext cx="2578439" cy="3744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Increase Automation	</a:t>
          </a:r>
        </a:p>
      </dsp:txBody>
      <dsp:txXfrm>
        <a:off x="2943708" y="123002"/>
        <a:ext cx="2578439" cy="374400"/>
      </dsp:txXfrm>
    </dsp:sp>
    <dsp:sp modelId="{E298ED86-65A2-4F25-B00E-5A43FD0EA44D}">
      <dsp:nvSpPr>
        <dsp:cNvPr id="0" name=""/>
        <dsp:cNvSpPr/>
      </dsp:nvSpPr>
      <dsp:spPr>
        <a:xfrm>
          <a:off x="2943708" y="422035"/>
          <a:ext cx="2578439" cy="47104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Supports progression testing of new features is possible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Enable Manual/Functional testers to do test automation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Anyone can automate</a:t>
          </a:r>
        </a:p>
      </dsp:txBody>
      <dsp:txXfrm>
        <a:off x="2943708" y="422035"/>
        <a:ext cx="2578439" cy="4710420"/>
      </dsp:txXfrm>
    </dsp:sp>
    <dsp:sp modelId="{C3D05E81-BA92-43EA-9280-E606350D2775}">
      <dsp:nvSpPr>
        <dsp:cNvPr id="0" name=""/>
        <dsp:cNvSpPr/>
      </dsp:nvSpPr>
      <dsp:spPr>
        <a:xfrm>
          <a:off x="5883129" y="123002"/>
          <a:ext cx="2578439" cy="3744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Save Testing Effort</a:t>
          </a:r>
        </a:p>
      </dsp:txBody>
      <dsp:txXfrm>
        <a:off x="5883129" y="123002"/>
        <a:ext cx="2578439" cy="374400"/>
      </dsp:txXfrm>
    </dsp:sp>
    <dsp:sp modelId="{C924EE63-177B-4ADE-9747-82A8E2A7E194}">
      <dsp:nvSpPr>
        <dsp:cNvPr id="0" name=""/>
        <dsp:cNvSpPr/>
      </dsp:nvSpPr>
      <dsp:spPr>
        <a:xfrm>
          <a:off x="5883129" y="497402"/>
          <a:ext cx="2578439" cy="47104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Reduce effort across testing lifecycle, test design and execution by optimizing the test case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Faster script development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Faster execution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Flexible report feature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300" kern="1200" dirty="0"/>
        </a:p>
      </dsp:txBody>
      <dsp:txXfrm>
        <a:off x="5883129" y="497402"/>
        <a:ext cx="2578439" cy="4710420"/>
      </dsp:txXfrm>
    </dsp:sp>
    <dsp:sp modelId="{7C8F564B-A690-40F9-A496-17B5AA335855}">
      <dsp:nvSpPr>
        <dsp:cNvPr id="0" name=""/>
        <dsp:cNvSpPr/>
      </dsp:nvSpPr>
      <dsp:spPr>
        <a:xfrm>
          <a:off x="8822549" y="123002"/>
          <a:ext cx="2578439" cy="3744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Shorten Time To Market</a:t>
          </a:r>
        </a:p>
      </dsp:txBody>
      <dsp:txXfrm>
        <a:off x="8822549" y="123002"/>
        <a:ext cx="2578439" cy="374400"/>
      </dsp:txXfrm>
    </dsp:sp>
    <dsp:sp modelId="{201D7ECF-A088-42EF-B6FC-40A1E12E0183}">
      <dsp:nvSpPr>
        <dsp:cNvPr id="0" name=""/>
        <dsp:cNvSpPr/>
      </dsp:nvSpPr>
      <dsp:spPr>
        <a:xfrm>
          <a:off x="8822549" y="497402"/>
          <a:ext cx="2578439" cy="47104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Start automation activity early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Write manual test cases that automate easily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Do test automation at faster pace</a:t>
          </a:r>
        </a:p>
      </dsp:txBody>
      <dsp:txXfrm>
        <a:off x="8822549" y="497402"/>
        <a:ext cx="2578439" cy="47104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BA1F0-E259-41ED-9B5B-A10950E5C0F8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1F16DF-DEFE-4B61-9843-E044693367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54879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75466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171798-EEC8-49BD-9588-0526F77F01B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4358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49190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11775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3F25FF-D712-4BC2-8DBC-1BEF3A3366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74F608-B0B2-407A-893C-7F73ECE887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CA2D77-4C61-44E6-888F-CC32C39D93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F848-BA14-4B58-B64D-A2E4CD79DD5D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22C49D-FB6F-4CD6-AC7D-69529FBC5D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12F23E-8C53-4FDF-B12E-FEFE9B6E8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0093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B5887-760F-4A4C-AD37-B1740057E0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E4B4C6-8DF1-4DB6-A0A0-FD4A3548A3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572F56-EB91-486D-832C-E2E6A8AF88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F848-BA14-4B58-B64D-A2E4CD79DD5D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3B4E4A-18A5-44C5-BBED-0AB688AE88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928C8F-D8F5-4BD4-B608-F118AA255D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8736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6B93349-EEC6-4012-ADAF-3BCC4340E5F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BABE058-465B-4C36-8C26-9240F32BF0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1188CE-DC48-4CD9-8980-0E3A74441C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F848-BA14-4B58-B64D-A2E4CD79DD5D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1E6D17-CED0-46DE-A903-A50812231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93448D-E923-41FC-9B32-63129E8173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2642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2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2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49725" y="0"/>
            <a:ext cx="11663852" cy="677008"/>
          </a:xfrm>
        </p:spPr>
        <p:txBody>
          <a:bodyPr anchor="ctr" anchorCtr="0"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90771" y="1511300"/>
            <a:ext cx="11406552" cy="45847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13889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5542C5-7592-4865-AB4C-819EC507BE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9FD15E-3210-458F-9380-C9EA9CCEB8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BFDF6C-847F-4397-BF45-9C4D43DC91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F848-BA14-4B58-B64D-A2E4CD79DD5D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DEB21E-451B-4AC4-8101-D12ECD7631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D3E7FC-FB11-41BD-B572-62240F371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4590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18B3D5-4FF7-4846-8ABE-EF823DAB7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E3C6B2-45BC-4A66-AF22-4F4C86460E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B27586-52B2-43D8-8FDE-E7F0134CC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F848-BA14-4B58-B64D-A2E4CD79DD5D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5E5AE0-8DB0-48C9-9A33-3752FE65FC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6C5408-ECBC-49D3-A113-A1996A1DE9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5952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0F70BF-59CD-4AC3-8F9F-521A85212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D8E8DF-40BD-4AE3-9D08-A7F8BA08BA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BB1A511-E8B0-4B6F-AAF6-113AD23B5C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BFB45D-1933-43A6-A8CA-BA3EECC0BF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F848-BA14-4B58-B64D-A2E4CD79DD5D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8973344-CD8E-4ACA-8F91-8D2DD14BA5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D5A904-4E4E-42D7-A36A-604E15677C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0749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7FD5FC-EE12-442F-ABD4-6266C491A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8093EF-D5D2-48B4-B169-E1ED328746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D1E126-60F3-4823-8BA8-C15B9BF45C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EBBA79-42A6-493E-A772-8C4BF050AE9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C24073-6342-4688-8AD8-2A1D40F7A2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3EF127A-DACB-44CB-B839-24EB1A1A7E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F848-BA14-4B58-B64D-A2E4CD79DD5D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53258F7-73F3-4E19-AFCC-645303E6E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F693AD1-B84B-438E-8FF5-DABFA6F09E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6229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66F47A-FF7F-4472-B09B-4B0C0E1629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C368C2-1094-4D99-8506-350DD3D2C1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F848-BA14-4B58-B64D-A2E4CD79DD5D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CB21795-64FF-410C-AE6F-763D36D0B0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0B4260-D79E-4959-BD78-9E69216AC1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17136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6A81B54-C6CD-4AF8-A413-78D19B4FDA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F848-BA14-4B58-B64D-A2E4CD79DD5D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E35BB6-EA9B-4ACD-BD98-07F47146E5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859A5E-1065-48AA-918E-CBDFC1765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58867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41D0C3-212B-4185-9D74-71D8DBA99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CD75A8-79C5-4851-91A1-B7C1732013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D862BB-CE73-44AE-BC08-41199144B0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BD6806-C0E5-406F-801E-F7335ED1CB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F848-BA14-4B58-B64D-A2E4CD79DD5D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946D90-52DE-4BC0-8F3B-3D503CDA56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B043E11-8FA1-4038-8AA9-9F2DC151D5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80351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1B12BF-678B-43FE-9A64-1F5308203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FA8E33B-D856-407C-AE3E-A1676C5DEC1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9036C6-CC33-4E15-9E91-8D3A8102B1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069BBE4-5008-4C84-B9A5-C940E7448C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7F848-BA14-4B58-B64D-A2E4CD79DD5D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8DE8F3-D1C0-42A0-BE67-DE4A11EE6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909D8C-DE83-433E-AD8C-6CD833412B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0085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88AB59-51E5-4CBD-853E-E67DF2447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BCC5A1-1904-45D6-966E-8396D2AB65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EA7569-86A9-4473-9583-860986C5DD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67F848-BA14-4B58-B64D-A2E4CD79DD5D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9DE197-6729-4503-B65B-25D6612750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BBA95A-DA9C-4057-B3DC-C2A6305003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239A25-B0D8-4FEA-8B2A-180718BADB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374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23D09407-53BC-485E-B4CE-BC5E4FC4B2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21DB988-49FC-4608-B0A2-E2F3A40190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783CBC-79C0-49B9-A981-E6EC7A617C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5903" y="3399769"/>
            <a:ext cx="10640754" cy="775845"/>
          </a:xfrm>
        </p:spPr>
        <p:txBody>
          <a:bodyPr anchor="b">
            <a:normAutofit/>
          </a:bodyPr>
          <a:lstStyle/>
          <a:p>
            <a:r>
              <a:rPr lang="en-US" sz="4000" dirty="0">
                <a:solidFill>
                  <a:schemeClr val="tx2"/>
                </a:solidFill>
              </a:rPr>
              <a:t>ICW – Test Automation Approach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906FCD-F128-4AC5-8B6D-68E9942EBA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4121" y="4171528"/>
            <a:ext cx="9163757" cy="450447"/>
          </a:xfrm>
        </p:spPr>
        <p:txBody>
          <a:bodyPr anchor="ctr">
            <a:normAutofit/>
          </a:bodyPr>
          <a:lstStyle/>
          <a:p>
            <a:r>
              <a:rPr lang="en-US" sz="2000">
                <a:solidFill>
                  <a:schemeClr val="tx2"/>
                </a:solidFill>
              </a:rPr>
              <a:t>LTI - IPAT Framework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9B930FD-8671-4C4C-ADCF-73AC1D0CD4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flipH="1">
            <a:off x="9676747" y="0"/>
            <a:ext cx="2514948" cy="2174333"/>
            <a:chOff x="-305" y="-4155"/>
            <a:chExt cx="2514948" cy="2174333"/>
          </a:xfrm>
        </p:grpSpPr>
        <p:sp>
          <p:nvSpPr>
            <p:cNvPr id="38" name="Freeform: Shape 16">
              <a:extLst>
                <a:ext uri="{FF2B5EF4-FFF2-40B4-BE49-F238E27FC236}">
                  <a16:creationId xmlns:a16="http://schemas.microsoft.com/office/drawing/2014/main" id="{C35B12C1-569C-4E37-AA33-7EF215F201B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23E2660-7810-46F6-8752-187127C830C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Freeform: Shape 18">
              <a:extLst>
                <a:ext uri="{FF2B5EF4-FFF2-40B4-BE49-F238E27FC236}">
                  <a16:creationId xmlns:a16="http://schemas.microsoft.com/office/drawing/2014/main" id="{C991DC45-0378-45B3-B325-FB8F98545E6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800"/>
            </a:p>
          </p:txBody>
        </p:sp>
        <p:sp>
          <p:nvSpPr>
            <p:cNvPr id="40" name="Freeform: Shape 19">
              <a:extLst>
                <a:ext uri="{FF2B5EF4-FFF2-40B4-BE49-F238E27FC236}">
                  <a16:creationId xmlns:a16="http://schemas.microsoft.com/office/drawing/2014/main" id="{E228F5BA-5150-4554-B7EA-93F371F3B17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7" name="Graphic 6" descr="Gears">
            <a:extLst>
              <a:ext uri="{FF2B5EF4-FFF2-40B4-BE49-F238E27FC236}">
                <a16:creationId xmlns:a16="http://schemas.microsoft.com/office/drawing/2014/main" id="{CACD757D-87AC-410D-A63D-6DF4F79000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46990" y="320231"/>
            <a:ext cx="2836567" cy="2836567"/>
          </a:xfrm>
          <a:prstGeom prst="rect">
            <a:avLst/>
          </a:prstGeom>
        </p:spPr>
      </p:pic>
      <p:grpSp>
        <p:nvGrpSpPr>
          <p:cNvPr id="41" name="Group 21">
            <a:extLst>
              <a:ext uri="{FF2B5EF4-FFF2-40B4-BE49-F238E27FC236}">
                <a16:creationId xmlns:a16="http://schemas.microsoft.com/office/drawing/2014/main" id="{383C2651-AE0C-4AE4-8725-E2F9414FE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10800000" flipH="1">
            <a:off x="-305" y="4322879"/>
            <a:ext cx="3378428" cy="2535121"/>
            <a:chOff x="-305" y="-1"/>
            <a:chExt cx="3832880" cy="2876136"/>
          </a:xfrm>
        </p:grpSpPr>
        <p:sp>
          <p:nvSpPr>
            <p:cNvPr id="42" name="Freeform: Shape 22">
              <a:extLst>
                <a:ext uri="{FF2B5EF4-FFF2-40B4-BE49-F238E27FC236}">
                  <a16:creationId xmlns:a16="http://schemas.microsoft.com/office/drawing/2014/main" id="{CCE13265-B5D2-47B4-A199-E05F390D5B9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3815424" cy="2653659"/>
            </a:xfrm>
            <a:custGeom>
              <a:avLst/>
              <a:gdLst>
                <a:gd name="connsiteX0" fmla="*/ 3203055 w 3815424"/>
                <a:gd name="connsiteY0" fmla="*/ 0 h 2653659"/>
                <a:gd name="connsiteX1" fmla="*/ 3815424 w 3815424"/>
                <a:gd name="connsiteY1" fmla="*/ 0 h 2653659"/>
                <a:gd name="connsiteX2" fmla="*/ 3801025 w 3815424"/>
                <a:gd name="connsiteY2" fmla="*/ 214243 h 2653659"/>
                <a:gd name="connsiteX3" fmla="*/ 587142 w 3815424"/>
                <a:gd name="connsiteY3" fmla="*/ 2653659 h 2653659"/>
                <a:gd name="connsiteX4" fmla="*/ 53389 w 3815424"/>
                <a:gd name="connsiteY4" fmla="*/ 2605041 h 2653659"/>
                <a:gd name="connsiteX5" fmla="*/ 0 w 3815424"/>
                <a:gd name="connsiteY5" fmla="*/ 2593136 h 2653659"/>
                <a:gd name="connsiteX6" fmla="*/ 0 w 3815424"/>
                <a:gd name="connsiteY6" fmla="*/ 1994836 h 2653659"/>
                <a:gd name="connsiteX7" fmla="*/ 159710 w 3815424"/>
                <a:gd name="connsiteY7" fmla="*/ 2035054 h 2653659"/>
                <a:gd name="connsiteX8" fmla="*/ 587142 w 3815424"/>
                <a:gd name="connsiteY8" fmla="*/ 2075152 h 2653659"/>
                <a:gd name="connsiteX9" fmla="*/ 1549283 w 3815424"/>
                <a:gd name="connsiteY9" fmla="*/ 1900153 h 2653659"/>
                <a:gd name="connsiteX10" fmla="*/ 2406698 w 3815424"/>
                <a:gd name="connsiteY10" fmla="*/ 1418450 h 2653659"/>
                <a:gd name="connsiteX11" fmla="*/ 2996069 w 3815424"/>
                <a:gd name="connsiteY11" fmla="*/ 728678 h 2653659"/>
                <a:gd name="connsiteX12" fmla="*/ 3193967 w 3815424"/>
                <a:gd name="connsiteY12" fmla="*/ 137719 h 265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5424" h="2653659">
                  <a:moveTo>
                    <a:pt x="3203055" y="0"/>
                  </a:moveTo>
                  <a:lnTo>
                    <a:pt x="3815424" y="0"/>
                  </a:lnTo>
                  <a:lnTo>
                    <a:pt x="3801025" y="214243"/>
                  </a:lnTo>
                  <a:cubicBezTo>
                    <a:pt x="3616317" y="1584467"/>
                    <a:pt x="2091637" y="2653659"/>
                    <a:pt x="587142" y="2653659"/>
                  </a:cubicBezTo>
                  <a:cubicBezTo>
                    <a:pt x="400192" y="2653659"/>
                    <a:pt x="222112" y="2636953"/>
                    <a:pt x="53389" y="2605041"/>
                  </a:cubicBezTo>
                  <a:lnTo>
                    <a:pt x="0" y="2593136"/>
                  </a:lnTo>
                  <a:lnTo>
                    <a:pt x="0" y="1994836"/>
                  </a:lnTo>
                  <a:lnTo>
                    <a:pt x="159710" y="2035054"/>
                  </a:lnTo>
                  <a:cubicBezTo>
                    <a:pt x="295467" y="2061726"/>
                    <a:pt x="438268" y="2075152"/>
                    <a:pt x="587142" y="2075152"/>
                  </a:cubicBezTo>
                  <a:cubicBezTo>
                    <a:pt x="901731" y="2075152"/>
                    <a:pt x="1234490" y="2014697"/>
                    <a:pt x="1549283" y="1900153"/>
                  </a:cubicBezTo>
                  <a:cubicBezTo>
                    <a:pt x="1860709" y="1786959"/>
                    <a:pt x="2157231" y="1620350"/>
                    <a:pt x="2406698" y="1418450"/>
                  </a:cubicBezTo>
                  <a:cubicBezTo>
                    <a:pt x="2655859" y="1216840"/>
                    <a:pt x="2859596" y="978302"/>
                    <a:pt x="2996069" y="728678"/>
                  </a:cubicBezTo>
                  <a:cubicBezTo>
                    <a:pt x="3101178" y="536396"/>
                    <a:pt x="3167417" y="338366"/>
                    <a:pt x="3193967" y="13771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93EBD03-D832-462C-9304-7273698ED4F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-1"/>
              <a:ext cx="3815424" cy="2653660"/>
            </a:xfrm>
            <a:custGeom>
              <a:avLst/>
              <a:gdLst>
                <a:gd name="connsiteX0" fmla="*/ 3305038 w 3815424"/>
                <a:gd name="connsiteY0" fmla="*/ 0 h 2653660"/>
                <a:gd name="connsiteX1" fmla="*/ 3815424 w 3815424"/>
                <a:gd name="connsiteY1" fmla="*/ 0 h 2653660"/>
                <a:gd name="connsiteX2" fmla="*/ 3801025 w 3815424"/>
                <a:gd name="connsiteY2" fmla="*/ 214244 h 2653660"/>
                <a:gd name="connsiteX3" fmla="*/ 587142 w 3815424"/>
                <a:gd name="connsiteY3" fmla="*/ 2653660 h 2653660"/>
                <a:gd name="connsiteX4" fmla="*/ 53389 w 3815424"/>
                <a:gd name="connsiteY4" fmla="*/ 2605042 h 2653660"/>
                <a:gd name="connsiteX5" fmla="*/ 0 w 3815424"/>
                <a:gd name="connsiteY5" fmla="*/ 2593137 h 2653660"/>
                <a:gd name="connsiteX6" fmla="*/ 0 w 3815424"/>
                <a:gd name="connsiteY6" fmla="*/ 2094444 h 2653660"/>
                <a:gd name="connsiteX7" fmla="*/ 137675 w 3815424"/>
                <a:gd name="connsiteY7" fmla="*/ 2129195 h 2653660"/>
                <a:gd name="connsiteX8" fmla="*/ 587142 w 3815424"/>
                <a:gd name="connsiteY8" fmla="*/ 2171571 h 2653660"/>
                <a:gd name="connsiteX9" fmla="*/ 1585826 w 3815424"/>
                <a:gd name="connsiteY9" fmla="*/ 1990112 h 2653660"/>
                <a:gd name="connsiteX10" fmla="*/ 2473046 w 3815424"/>
                <a:gd name="connsiteY10" fmla="*/ 1491633 h 2653660"/>
                <a:gd name="connsiteX11" fmla="*/ 3086710 w 3815424"/>
                <a:gd name="connsiteY11" fmla="*/ 772838 h 2653660"/>
                <a:gd name="connsiteX12" fmla="*/ 3295217 w 3815424"/>
                <a:gd name="connsiteY12" fmla="*/ 149229 h 2653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5424" h="2653660">
                  <a:moveTo>
                    <a:pt x="3305038" y="0"/>
                  </a:moveTo>
                  <a:lnTo>
                    <a:pt x="3815424" y="0"/>
                  </a:lnTo>
                  <a:lnTo>
                    <a:pt x="3801025" y="214244"/>
                  </a:lnTo>
                  <a:cubicBezTo>
                    <a:pt x="3616317" y="1584467"/>
                    <a:pt x="2091637" y="2653660"/>
                    <a:pt x="587142" y="2653660"/>
                  </a:cubicBezTo>
                  <a:cubicBezTo>
                    <a:pt x="400192" y="2653660"/>
                    <a:pt x="222112" y="2636954"/>
                    <a:pt x="53389" y="2605042"/>
                  </a:cubicBezTo>
                  <a:lnTo>
                    <a:pt x="0" y="2593137"/>
                  </a:lnTo>
                  <a:lnTo>
                    <a:pt x="0" y="2094444"/>
                  </a:lnTo>
                  <a:lnTo>
                    <a:pt x="137675" y="2129195"/>
                  </a:lnTo>
                  <a:cubicBezTo>
                    <a:pt x="280616" y="2157374"/>
                    <a:pt x="430766" y="2171571"/>
                    <a:pt x="587142" y="2171571"/>
                  </a:cubicBezTo>
                  <a:cubicBezTo>
                    <a:pt x="918879" y="2171571"/>
                    <a:pt x="1254904" y="2110634"/>
                    <a:pt x="1585826" y="1990112"/>
                  </a:cubicBezTo>
                  <a:cubicBezTo>
                    <a:pt x="1908071" y="1873061"/>
                    <a:pt x="2214800" y="1700666"/>
                    <a:pt x="2473046" y="1491633"/>
                  </a:cubicBezTo>
                  <a:cubicBezTo>
                    <a:pt x="2735782" y="1279031"/>
                    <a:pt x="2942276" y="1037118"/>
                    <a:pt x="3086710" y="772838"/>
                  </a:cubicBezTo>
                  <a:cubicBezTo>
                    <a:pt x="3197408" y="570216"/>
                    <a:pt x="3267226" y="361248"/>
                    <a:pt x="3295217" y="14922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3" name="Freeform: Shape 24">
              <a:extLst>
                <a:ext uri="{FF2B5EF4-FFF2-40B4-BE49-F238E27FC236}">
                  <a16:creationId xmlns:a16="http://schemas.microsoft.com/office/drawing/2014/main" id="{0D53D3E2-805E-40D2-964F-352BF6D476B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1"/>
              <a:ext cx="3815986" cy="2675935"/>
            </a:xfrm>
            <a:custGeom>
              <a:avLst/>
              <a:gdLst>
                <a:gd name="connsiteX0" fmla="*/ 3648768 w 3815986"/>
                <a:gd name="connsiteY0" fmla="*/ 0 h 2675935"/>
                <a:gd name="connsiteX1" fmla="*/ 3815986 w 3815986"/>
                <a:gd name="connsiteY1" fmla="*/ 0 h 2675935"/>
                <a:gd name="connsiteX2" fmla="*/ 3804695 w 3815986"/>
                <a:gd name="connsiteY2" fmla="*/ 200084 h 2675935"/>
                <a:gd name="connsiteX3" fmla="*/ 3762590 w 3815986"/>
                <a:gd name="connsiteY3" fmla="*/ 455543 h 2675935"/>
                <a:gd name="connsiteX4" fmla="*/ 3592332 w 3815986"/>
                <a:gd name="connsiteY4" fmla="*/ 947274 h 2675935"/>
                <a:gd name="connsiteX5" fmla="*/ 2953967 w 3815986"/>
                <a:gd name="connsiteY5" fmla="*/ 1782349 h 2675935"/>
                <a:gd name="connsiteX6" fmla="*/ 2530669 w 3815986"/>
                <a:gd name="connsiteY6" fmla="*/ 2109494 h 2675935"/>
                <a:gd name="connsiteX7" fmla="*/ 2057561 w 3815986"/>
                <a:gd name="connsiteY7" fmla="*/ 2369245 h 2675935"/>
                <a:gd name="connsiteX8" fmla="*/ 1007330 w 3815986"/>
                <a:gd name="connsiteY8" fmla="*/ 2655701 h 2675935"/>
                <a:gd name="connsiteX9" fmla="*/ 732765 w 3815986"/>
                <a:gd name="connsiteY9" fmla="*/ 2674696 h 2675935"/>
                <a:gd name="connsiteX10" fmla="*/ 457666 w 3815986"/>
                <a:gd name="connsiteY10" fmla="*/ 2670839 h 2675935"/>
                <a:gd name="connsiteX11" fmla="*/ 183574 w 3815986"/>
                <a:gd name="connsiteY11" fmla="*/ 2643312 h 2675935"/>
                <a:gd name="connsiteX12" fmla="*/ 0 w 3815986"/>
                <a:gd name="connsiteY12" fmla="*/ 2607798 h 2675935"/>
                <a:gd name="connsiteX13" fmla="*/ 0 w 3815986"/>
                <a:gd name="connsiteY13" fmla="*/ 2356652 h 2675935"/>
                <a:gd name="connsiteX14" fmla="*/ 222195 w 3815986"/>
                <a:gd name="connsiteY14" fmla="*/ 2396940 h 2675935"/>
                <a:gd name="connsiteX15" fmla="*/ 472364 w 3815986"/>
                <a:gd name="connsiteY15" fmla="*/ 2419092 h 2675935"/>
                <a:gd name="connsiteX16" fmla="*/ 974972 w 3815986"/>
                <a:gd name="connsiteY16" fmla="*/ 2402122 h 2675935"/>
                <a:gd name="connsiteX17" fmla="*/ 1468292 w 3815986"/>
                <a:gd name="connsiteY17" fmla="*/ 2304162 h 2675935"/>
                <a:gd name="connsiteX18" fmla="*/ 1940176 w 3815986"/>
                <a:gd name="connsiteY18" fmla="*/ 2133695 h 2675935"/>
                <a:gd name="connsiteX19" fmla="*/ 2783403 w 3815986"/>
                <a:gd name="connsiteY19" fmla="*/ 1609954 h 2675935"/>
                <a:gd name="connsiteX20" fmla="*/ 3128104 w 3815986"/>
                <a:gd name="connsiteY20" fmla="*/ 1260439 h 2675935"/>
                <a:gd name="connsiteX21" fmla="*/ 3400639 w 3815986"/>
                <a:gd name="connsiteY21" fmla="*/ 859052 h 2675935"/>
                <a:gd name="connsiteX22" fmla="*/ 3585595 w 3815986"/>
                <a:gd name="connsiteY22" fmla="*/ 415336 h 2675935"/>
                <a:gd name="connsiteX23" fmla="*/ 3635918 w 3815986"/>
                <a:gd name="connsiteY23" fmla="*/ 181137 h 2675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815986" h="2675935">
                  <a:moveTo>
                    <a:pt x="3648768" y="0"/>
                  </a:moveTo>
                  <a:lnTo>
                    <a:pt x="3815986" y="0"/>
                  </a:lnTo>
                  <a:lnTo>
                    <a:pt x="3804695" y="200084"/>
                  </a:lnTo>
                  <a:cubicBezTo>
                    <a:pt x="3795228" y="285751"/>
                    <a:pt x="3781167" y="371032"/>
                    <a:pt x="3762590" y="455543"/>
                  </a:cubicBezTo>
                  <a:cubicBezTo>
                    <a:pt x="3725537" y="624467"/>
                    <a:pt x="3668784" y="790112"/>
                    <a:pt x="3592332" y="947274"/>
                  </a:cubicBezTo>
                  <a:cubicBezTo>
                    <a:pt x="3438712" y="1261596"/>
                    <a:pt x="3216091" y="1542847"/>
                    <a:pt x="2953967" y="1782349"/>
                  </a:cubicBezTo>
                  <a:cubicBezTo>
                    <a:pt x="2822599" y="1902099"/>
                    <a:pt x="2680615" y="2011341"/>
                    <a:pt x="2530669" y="2109494"/>
                  </a:cubicBezTo>
                  <a:cubicBezTo>
                    <a:pt x="2380520" y="2207551"/>
                    <a:pt x="2222510" y="2294906"/>
                    <a:pt x="2057561" y="2369245"/>
                  </a:cubicBezTo>
                  <a:cubicBezTo>
                    <a:pt x="1727252" y="2516859"/>
                    <a:pt x="1371629" y="2614434"/>
                    <a:pt x="1007330" y="2655701"/>
                  </a:cubicBezTo>
                  <a:cubicBezTo>
                    <a:pt x="916281" y="2665873"/>
                    <a:pt x="824568" y="2672188"/>
                    <a:pt x="732765" y="2674696"/>
                  </a:cubicBezTo>
                  <a:cubicBezTo>
                    <a:pt x="640963" y="2677203"/>
                    <a:pt x="549072" y="2675901"/>
                    <a:pt x="457666" y="2670839"/>
                  </a:cubicBezTo>
                  <a:cubicBezTo>
                    <a:pt x="366106" y="2665584"/>
                    <a:pt x="274572" y="2656521"/>
                    <a:pt x="183574" y="2643312"/>
                  </a:cubicBezTo>
                  <a:lnTo>
                    <a:pt x="0" y="2607798"/>
                  </a:lnTo>
                  <a:lnTo>
                    <a:pt x="0" y="2356652"/>
                  </a:lnTo>
                  <a:lnTo>
                    <a:pt x="222195" y="2396940"/>
                  </a:lnTo>
                  <a:cubicBezTo>
                    <a:pt x="304990" y="2407980"/>
                    <a:pt x="388511" y="2415283"/>
                    <a:pt x="472364" y="2419092"/>
                  </a:cubicBezTo>
                  <a:cubicBezTo>
                    <a:pt x="640376" y="2427095"/>
                    <a:pt x="808184" y="2421791"/>
                    <a:pt x="974972" y="2402122"/>
                  </a:cubicBezTo>
                  <a:cubicBezTo>
                    <a:pt x="1141658" y="2382358"/>
                    <a:pt x="1306812" y="2349286"/>
                    <a:pt x="1468292" y="2304162"/>
                  </a:cubicBezTo>
                  <a:cubicBezTo>
                    <a:pt x="1629874" y="2259231"/>
                    <a:pt x="1787475" y="2201091"/>
                    <a:pt x="1940176" y="2133695"/>
                  </a:cubicBezTo>
                  <a:cubicBezTo>
                    <a:pt x="2246498" y="2000349"/>
                    <a:pt x="2532507" y="1823520"/>
                    <a:pt x="2783403" y="1609954"/>
                  </a:cubicBezTo>
                  <a:cubicBezTo>
                    <a:pt x="2908442" y="1502833"/>
                    <a:pt x="3024295" y="1385975"/>
                    <a:pt x="3128104" y="1260439"/>
                  </a:cubicBezTo>
                  <a:cubicBezTo>
                    <a:pt x="3232116" y="1135096"/>
                    <a:pt x="3323881" y="1000689"/>
                    <a:pt x="3400639" y="859052"/>
                  </a:cubicBezTo>
                  <a:cubicBezTo>
                    <a:pt x="3477399" y="717510"/>
                    <a:pt x="3541296" y="569316"/>
                    <a:pt x="3585595" y="415336"/>
                  </a:cubicBezTo>
                  <a:cubicBezTo>
                    <a:pt x="3607796" y="338540"/>
                    <a:pt x="3624638" y="260224"/>
                    <a:pt x="3635918" y="181137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4" name="Freeform: Shape 25">
              <a:extLst>
                <a:ext uri="{FF2B5EF4-FFF2-40B4-BE49-F238E27FC236}">
                  <a16:creationId xmlns:a16="http://schemas.microsoft.com/office/drawing/2014/main" id="{B7A9A916-A926-43E6-800F-432ABC3F244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-1"/>
              <a:ext cx="3832270" cy="2876136"/>
            </a:xfrm>
            <a:custGeom>
              <a:avLst/>
              <a:gdLst>
                <a:gd name="connsiteX0" fmla="*/ 3800718 w 3832270"/>
                <a:gd name="connsiteY0" fmla="*/ 0 h 2876136"/>
                <a:gd name="connsiteX1" fmla="*/ 3832270 w 3832270"/>
                <a:gd name="connsiteY1" fmla="*/ 0 h 2876136"/>
                <a:gd name="connsiteX2" fmla="*/ 3824562 w 3832270"/>
                <a:gd name="connsiteY2" fmla="*/ 143769 h 2876136"/>
                <a:gd name="connsiteX3" fmla="*/ 3628155 w 3832270"/>
                <a:gd name="connsiteY3" fmla="*/ 922055 h 2876136"/>
                <a:gd name="connsiteX4" fmla="*/ 3514853 w 3832270"/>
                <a:gd name="connsiteY4" fmla="*/ 1169078 h 2876136"/>
                <a:gd name="connsiteX5" fmla="*/ 3379198 w 3832270"/>
                <a:gd name="connsiteY5" fmla="*/ 1407037 h 2876136"/>
                <a:gd name="connsiteX6" fmla="*/ 3043787 w 3832270"/>
                <a:gd name="connsiteY6" fmla="*/ 1848342 h 2876136"/>
                <a:gd name="connsiteX7" fmla="*/ 2845661 w 3832270"/>
                <a:gd name="connsiteY7" fmla="*/ 2047444 h 2876136"/>
                <a:gd name="connsiteX8" fmla="*/ 2793197 w 3832270"/>
                <a:gd name="connsiteY8" fmla="*/ 2094689 h 2876136"/>
                <a:gd name="connsiteX9" fmla="*/ 2739710 w 3832270"/>
                <a:gd name="connsiteY9" fmla="*/ 2140969 h 2876136"/>
                <a:gd name="connsiteX10" fmla="*/ 2629166 w 3832270"/>
                <a:gd name="connsiteY10" fmla="*/ 2229867 h 2876136"/>
                <a:gd name="connsiteX11" fmla="*/ 2145952 w 3832270"/>
                <a:gd name="connsiteY11" fmla="*/ 2535994 h 2876136"/>
                <a:gd name="connsiteX12" fmla="*/ 1034987 w 3832270"/>
                <a:gd name="connsiteY12" fmla="*/ 2863910 h 2876136"/>
                <a:gd name="connsiteX13" fmla="*/ 741909 w 3832270"/>
                <a:gd name="connsiteY13" fmla="*/ 2875939 h 2876136"/>
                <a:gd name="connsiteX14" fmla="*/ 450208 w 3832270"/>
                <a:gd name="connsiteY14" fmla="*/ 2857451 h 2876136"/>
                <a:gd name="connsiteX15" fmla="*/ 22215 w 3832270"/>
                <a:gd name="connsiteY15" fmla="*/ 2775923 h 2876136"/>
                <a:gd name="connsiteX16" fmla="*/ 0 w 3832270"/>
                <a:gd name="connsiteY16" fmla="*/ 2769256 h 2876136"/>
                <a:gd name="connsiteX17" fmla="*/ 0 w 3832270"/>
                <a:gd name="connsiteY17" fmla="*/ 2590612 h 2876136"/>
                <a:gd name="connsiteX18" fmla="*/ 199046 w 3832270"/>
                <a:gd name="connsiteY18" fmla="*/ 2627410 h 2876136"/>
                <a:gd name="connsiteX19" fmla="*/ 468174 w 3832270"/>
                <a:gd name="connsiteY19" fmla="*/ 2649670 h 2876136"/>
                <a:gd name="connsiteX20" fmla="*/ 1003650 w 3832270"/>
                <a:gd name="connsiteY20" fmla="*/ 2622480 h 2876136"/>
                <a:gd name="connsiteX21" fmla="*/ 1266489 w 3832270"/>
                <a:gd name="connsiteY21" fmla="*/ 2573982 h 2876136"/>
                <a:gd name="connsiteX22" fmla="*/ 1524223 w 3832270"/>
                <a:gd name="connsiteY22" fmla="*/ 2504657 h 2876136"/>
                <a:gd name="connsiteX23" fmla="*/ 1775731 w 3832270"/>
                <a:gd name="connsiteY23" fmla="*/ 2416243 h 2876136"/>
                <a:gd name="connsiteX24" fmla="*/ 2019789 w 3832270"/>
                <a:gd name="connsiteY24" fmla="*/ 2309412 h 2876136"/>
                <a:gd name="connsiteX25" fmla="*/ 2482486 w 3832270"/>
                <a:gd name="connsiteY25" fmla="*/ 2046962 h 2876136"/>
                <a:gd name="connsiteX26" fmla="*/ 2591908 w 3832270"/>
                <a:gd name="connsiteY26" fmla="*/ 1971371 h 2876136"/>
                <a:gd name="connsiteX27" fmla="*/ 2645702 w 3832270"/>
                <a:gd name="connsiteY27" fmla="*/ 1932321 h 2876136"/>
                <a:gd name="connsiteX28" fmla="*/ 2698779 w 3832270"/>
                <a:gd name="connsiteY28" fmla="*/ 1892309 h 2876136"/>
                <a:gd name="connsiteX29" fmla="*/ 2903537 w 3832270"/>
                <a:gd name="connsiteY29" fmla="*/ 1722516 h 2876136"/>
                <a:gd name="connsiteX30" fmla="*/ 3269061 w 3832270"/>
                <a:gd name="connsiteY30" fmla="*/ 1337327 h 2876136"/>
                <a:gd name="connsiteX31" fmla="*/ 3424928 w 3832270"/>
                <a:gd name="connsiteY31" fmla="*/ 1122508 h 2876136"/>
                <a:gd name="connsiteX32" fmla="*/ 3557622 w 3832270"/>
                <a:gd name="connsiteY32" fmla="*/ 893226 h 2876136"/>
                <a:gd name="connsiteX33" fmla="*/ 3587019 w 3832270"/>
                <a:gd name="connsiteY33" fmla="*/ 833929 h 2876136"/>
                <a:gd name="connsiteX34" fmla="*/ 3601310 w 3832270"/>
                <a:gd name="connsiteY34" fmla="*/ 804040 h 2876136"/>
                <a:gd name="connsiteX35" fmla="*/ 3614885 w 3832270"/>
                <a:gd name="connsiteY35" fmla="*/ 773861 h 2876136"/>
                <a:gd name="connsiteX36" fmla="*/ 3640812 w 3832270"/>
                <a:gd name="connsiteY36" fmla="*/ 713022 h 2876136"/>
                <a:gd name="connsiteX37" fmla="*/ 3665105 w 3832270"/>
                <a:gd name="connsiteY37" fmla="*/ 651506 h 2876136"/>
                <a:gd name="connsiteX38" fmla="*/ 3744110 w 3832270"/>
                <a:gd name="connsiteY38" fmla="*/ 399567 h 2876136"/>
                <a:gd name="connsiteX39" fmla="*/ 3792123 w 3832270"/>
                <a:gd name="connsiteY39" fmla="*/ 140444 h 2876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832270" h="2876136">
                  <a:moveTo>
                    <a:pt x="3800718" y="0"/>
                  </a:moveTo>
                  <a:lnTo>
                    <a:pt x="3832270" y="0"/>
                  </a:lnTo>
                  <a:lnTo>
                    <a:pt x="3824562" y="143769"/>
                  </a:lnTo>
                  <a:cubicBezTo>
                    <a:pt x="3797131" y="409191"/>
                    <a:pt x="3730585" y="671345"/>
                    <a:pt x="3628155" y="922055"/>
                  </a:cubicBezTo>
                  <a:cubicBezTo>
                    <a:pt x="3593858" y="1005553"/>
                    <a:pt x="3556704" y="1088280"/>
                    <a:pt x="3514853" y="1169078"/>
                  </a:cubicBezTo>
                  <a:cubicBezTo>
                    <a:pt x="3473616" y="1250166"/>
                    <a:pt x="3428194" y="1329517"/>
                    <a:pt x="3379198" y="1407037"/>
                  </a:cubicBezTo>
                  <a:cubicBezTo>
                    <a:pt x="3281106" y="1561980"/>
                    <a:pt x="3169132" y="1710174"/>
                    <a:pt x="3043787" y="1848342"/>
                  </a:cubicBezTo>
                  <a:cubicBezTo>
                    <a:pt x="2980806" y="1917184"/>
                    <a:pt x="2915071" y="1984001"/>
                    <a:pt x="2845661" y="2047444"/>
                  </a:cubicBezTo>
                  <a:cubicBezTo>
                    <a:pt x="2828411" y="2063450"/>
                    <a:pt x="2811060" y="2079263"/>
                    <a:pt x="2793197" y="2094689"/>
                  </a:cubicBezTo>
                  <a:cubicBezTo>
                    <a:pt x="2775436" y="2110213"/>
                    <a:pt x="2757982" y="2126025"/>
                    <a:pt x="2739710" y="2140969"/>
                  </a:cubicBezTo>
                  <a:cubicBezTo>
                    <a:pt x="2703576" y="2171341"/>
                    <a:pt x="2666524" y="2200749"/>
                    <a:pt x="2629166" y="2229867"/>
                  </a:cubicBezTo>
                  <a:cubicBezTo>
                    <a:pt x="2479015" y="2345569"/>
                    <a:pt x="2316821" y="2448061"/>
                    <a:pt x="2145952" y="2535994"/>
                  </a:cubicBezTo>
                  <a:cubicBezTo>
                    <a:pt x="1804312" y="2711957"/>
                    <a:pt x="1424600" y="2826982"/>
                    <a:pt x="1034987" y="2863910"/>
                  </a:cubicBezTo>
                  <a:cubicBezTo>
                    <a:pt x="937762" y="2873167"/>
                    <a:pt x="839720" y="2877096"/>
                    <a:pt x="741909" y="2875939"/>
                  </a:cubicBezTo>
                  <a:cubicBezTo>
                    <a:pt x="644097" y="2874782"/>
                    <a:pt x="546515" y="2868539"/>
                    <a:pt x="450208" y="2857451"/>
                  </a:cubicBezTo>
                  <a:cubicBezTo>
                    <a:pt x="305520" y="2840674"/>
                    <a:pt x="162095" y="2813810"/>
                    <a:pt x="22215" y="2775923"/>
                  </a:cubicBezTo>
                  <a:lnTo>
                    <a:pt x="0" y="2769256"/>
                  </a:lnTo>
                  <a:lnTo>
                    <a:pt x="0" y="2590612"/>
                  </a:lnTo>
                  <a:lnTo>
                    <a:pt x="199046" y="2627410"/>
                  </a:lnTo>
                  <a:cubicBezTo>
                    <a:pt x="288321" y="2639209"/>
                    <a:pt x="378197" y="2646537"/>
                    <a:pt x="468174" y="2649670"/>
                  </a:cubicBezTo>
                  <a:cubicBezTo>
                    <a:pt x="648333" y="2656805"/>
                    <a:pt x="826655" y="2647163"/>
                    <a:pt x="1003650" y="2622480"/>
                  </a:cubicBezTo>
                  <a:cubicBezTo>
                    <a:pt x="1091943" y="2609658"/>
                    <a:pt x="1179725" y="2593747"/>
                    <a:pt x="1266489" y="2573982"/>
                  </a:cubicBezTo>
                  <a:cubicBezTo>
                    <a:pt x="1353250" y="2553927"/>
                    <a:pt x="1439298" y="2531076"/>
                    <a:pt x="1524223" y="2504657"/>
                  </a:cubicBezTo>
                  <a:cubicBezTo>
                    <a:pt x="1609149" y="2478336"/>
                    <a:pt x="1693052" y="2448833"/>
                    <a:pt x="1775731" y="2416243"/>
                  </a:cubicBezTo>
                  <a:cubicBezTo>
                    <a:pt x="1858309" y="2383557"/>
                    <a:pt x="1939764" y="2347882"/>
                    <a:pt x="2019789" y="2309412"/>
                  </a:cubicBezTo>
                  <a:cubicBezTo>
                    <a:pt x="2179839" y="2232567"/>
                    <a:pt x="2334583" y="2144923"/>
                    <a:pt x="2482486" y="2046962"/>
                  </a:cubicBezTo>
                  <a:cubicBezTo>
                    <a:pt x="2519334" y="2022376"/>
                    <a:pt x="2556081" y="1997403"/>
                    <a:pt x="2591908" y="1971371"/>
                  </a:cubicBezTo>
                  <a:cubicBezTo>
                    <a:pt x="2610077" y="1958644"/>
                    <a:pt x="2627838" y="1945434"/>
                    <a:pt x="2645702" y="1932321"/>
                  </a:cubicBezTo>
                  <a:cubicBezTo>
                    <a:pt x="2663666" y="1919305"/>
                    <a:pt x="2681325" y="1905903"/>
                    <a:pt x="2698779" y="1892309"/>
                  </a:cubicBezTo>
                  <a:cubicBezTo>
                    <a:pt x="2768903" y="1838025"/>
                    <a:pt x="2837496" y="1781717"/>
                    <a:pt x="2903537" y="1722516"/>
                  </a:cubicBezTo>
                  <a:cubicBezTo>
                    <a:pt x="3035926" y="1604501"/>
                    <a:pt x="3158720" y="1475784"/>
                    <a:pt x="3269061" y="1337327"/>
                  </a:cubicBezTo>
                  <a:cubicBezTo>
                    <a:pt x="3324182" y="1268099"/>
                    <a:pt x="3376341" y="1196461"/>
                    <a:pt x="3424928" y="1122508"/>
                  </a:cubicBezTo>
                  <a:cubicBezTo>
                    <a:pt x="3472697" y="1048170"/>
                    <a:pt x="3517814" y="972000"/>
                    <a:pt x="3557622" y="893226"/>
                  </a:cubicBezTo>
                  <a:cubicBezTo>
                    <a:pt x="3567931" y="873654"/>
                    <a:pt x="3577526" y="853791"/>
                    <a:pt x="3587019" y="833929"/>
                  </a:cubicBezTo>
                  <a:lnTo>
                    <a:pt x="3601310" y="804040"/>
                  </a:lnTo>
                  <a:lnTo>
                    <a:pt x="3614885" y="773861"/>
                  </a:lnTo>
                  <a:cubicBezTo>
                    <a:pt x="3623766" y="753709"/>
                    <a:pt x="3632748" y="733559"/>
                    <a:pt x="3640812" y="713022"/>
                  </a:cubicBezTo>
                  <a:cubicBezTo>
                    <a:pt x="3648876" y="692485"/>
                    <a:pt x="3657756" y="672236"/>
                    <a:pt x="3665105" y="651506"/>
                  </a:cubicBezTo>
                  <a:cubicBezTo>
                    <a:pt x="3696544" y="569166"/>
                    <a:pt x="3723185" y="485089"/>
                    <a:pt x="3744110" y="399567"/>
                  </a:cubicBezTo>
                  <a:cubicBezTo>
                    <a:pt x="3765341" y="314238"/>
                    <a:pt x="3781392" y="227654"/>
                    <a:pt x="3792123" y="140444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474372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90561" y="365125"/>
            <a:ext cx="11405277" cy="1325563"/>
          </a:xfrm>
        </p:spPr>
        <p:txBody>
          <a:bodyPr/>
          <a:lstStyle/>
          <a:p>
            <a:r>
              <a:rPr lang="en-US" sz="3200" b="1" dirty="0">
                <a:solidFill>
                  <a:srgbClr val="0B1B93"/>
                </a:solidFill>
                <a:latin typeface="+mn-lt"/>
              </a:rPr>
              <a:t>ICW - Test Automation Process</a:t>
            </a:r>
            <a:br>
              <a:rPr lang="en-US" dirty="0"/>
            </a:br>
            <a:r>
              <a:rPr lang="en-US" sz="1800" i="1" dirty="0"/>
              <a:t>Driving efficiency &amp; coverage with a special focus on ICW functional automation Testing need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390562" y="1504662"/>
            <a:ext cx="11405277" cy="1009939"/>
            <a:chOff x="388973" y="1395801"/>
            <a:chExt cx="11405277" cy="1009939"/>
          </a:xfrm>
        </p:grpSpPr>
        <p:sp>
          <p:nvSpPr>
            <p:cNvPr id="25" name="CPTKTBGT21z12f01t10l10s01m01j0la0tb00i00u01"/>
            <p:cNvSpPr txBox="1">
              <a:spLocks/>
            </p:cNvSpPr>
            <p:nvPr/>
          </p:nvSpPr>
          <p:spPr>
            <a:xfrm>
              <a:off x="388973" y="1725556"/>
              <a:ext cx="11405277" cy="68018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2" rtlCol="0" anchor="t">
              <a:noAutofit/>
            </a:bodyPr>
            <a:lstStyle/>
            <a:p>
              <a:pPr marL="174625" indent="-174625">
                <a:spcAft>
                  <a:spcPts val="200"/>
                </a:spcAft>
                <a:buClr>
                  <a:schemeClr val="accent5"/>
                </a:buClr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Support smoke, functional, regression, cross browser and service testing across business functionalities</a:t>
              </a:r>
            </a:p>
            <a:p>
              <a:pPr marL="174625" indent="-174625">
                <a:spcAft>
                  <a:spcPts val="200"/>
                </a:spcAft>
                <a:buClr>
                  <a:schemeClr val="accent5"/>
                </a:buClr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Promote faster builds, continuous integrations, shorter deployment cycles</a:t>
              </a:r>
            </a:p>
            <a:p>
              <a:pPr marL="174625" indent="-174625">
                <a:spcAft>
                  <a:spcPts val="200"/>
                </a:spcAft>
                <a:buClr>
                  <a:schemeClr val="accent5"/>
                </a:buClr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Increased coverage across Core Business areas</a:t>
              </a:r>
            </a:p>
            <a:p>
              <a:pPr marL="174625" indent="-174625">
                <a:spcAft>
                  <a:spcPts val="200"/>
                </a:spcAft>
                <a:buClr>
                  <a:schemeClr val="accent5"/>
                </a:buClr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Increased consistency of testing leveraging Automation for manual intensive test cases </a:t>
              </a:r>
            </a:p>
          </p:txBody>
        </p:sp>
        <p:sp>
          <p:nvSpPr>
            <p:cNvPr id="26" name="CPTKTBGH21z12f08t01l08s01m00j0ca0cb01i00u00"/>
            <p:cNvSpPr txBox="1">
              <a:spLocks/>
            </p:cNvSpPr>
            <p:nvPr/>
          </p:nvSpPr>
          <p:spPr>
            <a:xfrm>
              <a:off x="388973" y="1395801"/>
              <a:ext cx="11405277" cy="329756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Objectives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90562" y="2588764"/>
            <a:ext cx="11405277" cy="2453359"/>
            <a:chOff x="388973" y="2352072"/>
            <a:chExt cx="11405277" cy="2453359"/>
          </a:xfrm>
        </p:grpSpPr>
        <p:sp>
          <p:nvSpPr>
            <p:cNvPr id="29" name="Rectangle 28"/>
            <p:cNvSpPr>
              <a:spLocks/>
            </p:cNvSpPr>
            <p:nvPr/>
          </p:nvSpPr>
          <p:spPr>
            <a:xfrm>
              <a:off x="388973" y="2674623"/>
              <a:ext cx="11405277" cy="213080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>
              <a:noAutofit/>
            </a:bodyPr>
            <a:lstStyle/>
            <a:p>
              <a:pPr marL="174625" indent="-174625">
                <a:spcAft>
                  <a:spcPts val="600"/>
                </a:spcAft>
                <a:buClr>
                  <a:schemeClr val="accent5"/>
                </a:buClr>
                <a:buSzPct val="100000"/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Leverage LTI’ s reusable automation framework to build a Robust Automation Framework based on Selenium/TestNG framework</a:t>
              </a:r>
            </a:p>
            <a:p>
              <a:pPr marL="174625" indent="-174625">
                <a:spcAft>
                  <a:spcPts val="600"/>
                </a:spcAft>
                <a:buClr>
                  <a:schemeClr val="accent5"/>
                </a:buClr>
                <a:buSzPct val="100000"/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Early Automation approach to minimize Risks related to potential gaps</a:t>
              </a:r>
            </a:p>
            <a:p>
              <a:pPr marL="174625" indent="-174625">
                <a:spcAft>
                  <a:spcPts val="600"/>
                </a:spcAft>
                <a:buClr>
                  <a:schemeClr val="accent5"/>
                </a:buClr>
                <a:buSzPct val="100000"/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Automated Smoke testing and environmental availability testing</a:t>
              </a:r>
            </a:p>
            <a:p>
              <a:pPr marL="174625" indent="-174625">
                <a:spcAft>
                  <a:spcPts val="600"/>
                </a:spcAft>
                <a:buClr>
                  <a:schemeClr val="accent5"/>
                </a:buClr>
                <a:buSzPct val="100000"/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Leverage automation Scripts for Development and UAT Phases as appropriate (eg – Automated Unit testing framework)</a:t>
              </a:r>
            </a:p>
            <a:p>
              <a:pPr marL="174625" indent="-174625">
                <a:spcAft>
                  <a:spcPts val="600"/>
                </a:spcAft>
                <a:buClr>
                  <a:schemeClr val="accent5"/>
                </a:buClr>
                <a:buSzPct val="100000"/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Scriptless Automation for effective functional testing, modular tests and browser compatibility tests </a:t>
              </a:r>
            </a:p>
            <a:p>
              <a:pPr marL="174625" indent="-174625">
                <a:spcAft>
                  <a:spcPts val="600"/>
                </a:spcAft>
                <a:buClr>
                  <a:schemeClr val="accent5"/>
                </a:buClr>
                <a:buSzPct val="100000"/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Trigger lab deployment and integrate the framework</a:t>
              </a:r>
            </a:p>
            <a:p>
              <a:pPr marL="174625" indent="-174625">
                <a:spcAft>
                  <a:spcPts val="600"/>
                </a:spcAft>
                <a:buClr>
                  <a:schemeClr val="accent5"/>
                </a:buClr>
                <a:buSzPct val="100000"/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Integrate Automated scripts with continuous integration (Jenkins etc.) pipeline and automate reporting to ICW stakeholders</a:t>
              </a:r>
            </a:p>
            <a:p>
              <a:pPr marL="174625" indent="-174625">
                <a:spcAft>
                  <a:spcPts val="600"/>
                </a:spcAft>
                <a:buClr>
                  <a:schemeClr val="accent5"/>
                </a:buClr>
                <a:buSzPct val="100000"/>
                <a:buFont typeface="Wingdings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Focus on coverage across key business areas enhancing the team to accelerate the testing during SIT phase</a:t>
              </a:r>
            </a:p>
          </p:txBody>
        </p:sp>
        <p:sp>
          <p:nvSpPr>
            <p:cNvPr id="30" name="CPTKTBGH21z12f08t01l08s01m00j0ca0cb01i00u00"/>
            <p:cNvSpPr txBox="1">
              <a:spLocks/>
            </p:cNvSpPr>
            <p:nvPr/>
          </p:nvSpPr>
          <p:spPr>
            <a:xfrm>
              <a:off x="388973" y="2352072"/>
              <a:ext cx="11405277" cy="32929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Approach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390561" y="5116286"/>
            <a:ext cx="11412198" cy="1121229"/>
            <a:chOff x="388973" y="5199561"/>
            <a:chExt cx="11412198" cy="1121229"/>
          </a:xfrm>
        </p:grpSpPr>
        <p:sp>
          <p:nvSpPr>
            <p:cNvPr id="27" name="CPTKTBGT21z12f01t10l10s01m01j0la0tb00i00u01"/>
            <p:cNvSpPr txBox="1">
              <a:spLocks/>
            </p:cNvSpPr>
            <p:nvPr/>
          </p:nvSpPr>
          <p:spPr>
            <a:xfrm>
              <a:off x="388973" y="5528852"/>
              <a:ext cx="5646904" cy="79193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2" rtlCol="0" anchor="t">
              <a:noAutofit/>
            </a:bodyPr>
            <a:lstStyle/>
            <a:p>
              <a:pPr marL="174625" indent="-174625">
                <a:spcAft>
                  <a:spcPts val="400"/>
                </a:spcAft>
                <a:buClr>
                  <a:srgbClr val="0098C7"/>
                </a:buClr>
                <a:buSzPct val="100000"/>
                <a:buFont typeface="Wingdings" pitchFamily="2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Reusable and scalable automation framework with substantial functional coverage across key business areas</a:t>
              </a:r>
            </a:p>
            <a:p>
              <a:pPr marL="174625" indent="-174625">
                <a:spcAft>
                  <a:spcPts val="400"/>
                </a:spcAft>
                <a:buClr>
                  <a:srgbClr val="0098C7"/>
                </a:buClr>
                <a:buSzPct val="100000"/>
                <a:buFont typeface="Wingdings" pitchFamily="2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Reusable automation scripts for different areas of the application landscape</a:t>
              </a:r>
            </a:p>
          </p:txBody>
        </p:sp>
        <p:sp>
          <p:nvSpPr>
            <p:cNvPr id="28" name="CPTKTBGT21z12f01t10l10s01m01j0la0tb00i00u01"/>
            <p:cNvSpPr txBox="1">
              <a:spLocks/>
            </p:cNvSpPr>
            <p:nvPr/>
          </p:nvSpPr>
          <p:spPr>
            <a:xfrm>
              <a:off x="6154267" y="5528852"/>
              <a:ext cx="5646904" cy="79193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>
              <a:noAutofit/>
            </a:bodyPr>
            <a:lstStyle/>
            <a:p>
              <a:pPr marL="174625" indent="-174625">
                <a:spcAft>
                  <a:spcPts val="400"/>
                </a:spcAft>
                <a:buClr>
                  <a:srgbClr val="0098C7"/>
                </a:buClr>
                <a:buSzPct val="100000"/>
                <a:buFont typeface="Wingdings" pitchFamily="2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Integration with PDF compare tool</a:t>
              </a:r>
            </a:p>
            <a:p>
              <a:pPr marL="174625" indent="-174625">
                <a:spcAft>
                  <a:spcPts val="400"/>
                </a:spcAft>
                <a:buClr>
                  <a:srgbClr val="0098C7"/>
                </a:buClr>
                <a:buSzPct val="100000"/>
                <a:buFont typeface="Wingdings" pitchFamily="2" charset="2"/>
                <a:buChar char="§"/>
              </a:pPr>
              <a:r>
                <a:rPr lang="en-US" sz="1200" dirty="0">
                  <a:solidFill>
                    <a:srgbClr val="000000"/>
                  </a:solidFill>
                </a:rPr>
                <a:t>Integration with XML extraction code</a:t>
              </a:r>
            </a:p>
          </p:txBody>
        </p:sp>
        <p:sp>
          <p:nvSpPr>
            <p:cNvPr id="31" name="CPTKTBGH21z12f08t01l08s01m00j0ca0cb01i00u00"/>
            <p:cNvSpPr txBox="1">
              <a:spLocks/>
            </p:cNvSpPr>
            <p:nvPr/>
          </p:nvSpPr>
          <p:spPr>
            <a:xfrm>
              <a:off x="6147346" y="5199561"/>
              <a:ext cx="5646904" cy="329293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en-US" sz="1100" b="1" dirty="0">
                  <a:solidFill>
                    <a:schemeClr val="bg1"/>
                  </a:solidFill>
                </a:rPr>
                <a:t>Accelerators</a:t>
              </a:r>
            </a:p>
          </p:txBody>
        </p:sp>
        <p:sp>
          <p:nvSpPr>
            <p:cNvPr id="32" name="CPTKTBGH21z12f08t01l08s01m00j0ca0cb01i00u00"/>
            <p:cNvSpPr txBox="1">
              <a:spLocks/>
            </p:cNvSpPr>
            <p:nvPr/>
          </p:nvSpPr>
          <p:spPr>
            <a:xfrm>
              <a:off x="388973" y="5199561"/>
              <a:ext cx="5646904" cy="329293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en-US" sz="1100" b="1" dirty="0">
                  <a:solidFill>
                    <a:schemeClr val="bg1"/>
                  </a:solidFill>
                </a:rPr>
                <a:t>Expected deliverables/outcom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356674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69EEA3E-702D-4741-9F7E-A747A72A7E7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2213" y="642937"/>
            <a:ext cx="11587574" cy="5572125"/>
          </a:xfrm>
        </p:spPr>
      </p:pic>
    </p:spTree>
    <p:extLst>
      <p:ext uri="{BB962C8B-B14F-4D97-AF65-F5344CB8AC3E}">
        <p14:creationId xmlns:p14="http://schemas.microsoft.com/office/powerpoint/2010/main" val="26621557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046" y="70336"/>
            <a:ext cx="11290685" cy="685800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3200" b="1" dirty="0">
                <a:solidFill>
                  <a:srgbClr val="0B1B93"/>
                </a:solidFill>
                <a:latin typeface="+mn-lt"/>
              </a:rPr>
              <a:t>IPAT Vs Other Automation Frameworks</a:t>
            </a:r>
          </a:p>
        </p:txBody>
      </p:sp>
      <p:grpSp>
        <p:nvGrpSpPr>
          <p:cNvPr id="100" name="Group 99"/>
          <p:cNvGrpSpPr/>
          <p:nvPr/>
        </p:nvGrpSpPr>
        <p:grpSpPr>
          <a:xfrm>
            <a:off x="556662" y="732914"/>
            <a:ext cx="11181069" cy="5400282"/>
            <a:chOff x="502874" y="732914"/>
            <a:chExt cx="8469633" cy="3887148"/>
          </a:xfrm>
        </p:grpSpPr>
        <p:sp>
          <p:nvSpPr>
            <p:cNvPr id="103" name="Rectangle 102"/>
            <p:cNvSpPr/>
            <p:nvPr/>
          </p:nvSpPr>
          <p:spPr>
            <a:xfrm>
              <a:off x="910871" y="2338823"/>
              <a:ext cx="8059615" cy="228123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 cap="flat" cmpd="sng" algn="ctr">
              <a:solidFill>
                <a:sysClr val="windowText" lastClr="000000">
                  <a:lumMod val="60000"/>
                  <a:lumOff val="40000"/>
                </a:sysClr>
              </a:solidFill>
              <a:prstDash val="solid"/>
            </a:ln>
            <a:effectLst/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04" name="Rectangle 103"/>
            <p:cNvSpPr/>
            <p:nvPr/>
          </p:nvSpPr>
          <p:spPr>
            <a:xfrm>
              <a:off x="914400" y="1148953"/>
              <a:ext cx="8058107" cy="116681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175" cap="flat" cmpd="sng" algn="ctr">
              <a:solidFill>
                <a:sysClr val="windowText" lastClr="000000">
                  <a:lumMod val="60000"/>
                  <a:lumOff val="40000"/>
                </a:sysClr>
              </a:solidFill>
              <a:prstDash val="solid"/>
            </a:ln>
            <a:effectLst/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05" name="Rounded Rectangle 10"/>
            <p:cNvSpPr/>
            <p:nvPr/>
          </p:nvSpPr>
          <p:spPr>
            <a:xfrm>
              <a:off x="936381" y="1229916"/>
              <a:ext cx="1096108" cy="205978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shade val="51000"/>
                    <a:satMod val="130000"/>
                  </a:srgbClr>
                </a:gs>
                <a:gs pos="80000">
                  <a:srgbClr val="4F81BD">
                    <a:shade val="93000"/>
                    <a:satMod val="130000"/>
                  </a:srgbClr>
                </a:gs>
                <a:gs pos="100000">
                  <a:srgbClr val="4F81B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Test Planning</a:t>
              </a:r>
            </a:p>
          </p:txBody>
        </p:sp>
        <p:sp>
          <p:nvSpPr>
            <p:cNvPr id="106" name="Rounded Rectangle 11"/>
            <p:cNvSpPr/>
            <p:nvPr/>
          </p:nvSpPr>
          <p:spPr>
            <a:xfrm>
              <a:off x="1884485" y="1489472"/>
              <a:ext cx="3207727" cy="204788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shade val="51000"/>
                    <a:satMod val="130000"/>
                  </a:srgbClr>
                </a:gs>
                <a:gs pos="80000">
                  <a:srgbClr val="4F81BD">
                    <a:shade val="93000"/>
                    <a:satMod val="130000"/>
                  </a:srgbClr>
                </a:gs>
                <a:gs pos="100000">
                  <a:srgbClr val="4F81B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Test Design</a:t>
              </a:r>
            </a:p>
          </p:txBody>
        </p:sp>
        <p:sp>
          <p:nvSpPr>
            <p:cNvPr id="107" name="Rounded Rectangle 12"/>
            <p:cNvSpPr/>
            <p:nvPr/>
          </p:nvSpPr>
          <p:spPr>
            <a:xfrm>
              <a:off x="1884485" y="1690687"/>
              <a:ext cx="1913792" cy="204788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4BACC6"/>
              </a:solidFill>
              <a:prstDash val="solid"/>
            </a:ln>
            <a:effectLst/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Manual test preparation</a:t>
              </a:r>
            </a:p>
          </p:txBody>
        </p:sp>
        <p:sp>
          <p:nvSpPr>
            <p:cNvPr id="108" name="Rounded Rectangle 13"/>
            <p:cNvSpPr/>
            <p:nvPr/>
          </p:nvSpPr>
          <p:spPr>
            <a:xfrm>
              <a:off x="3065172" y="1907381"/>
              <a:ext cx="2009453" cy="205979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4BACC6"/>
              </a:solidFill>
              <a:prstDash val="solid"/>
            </a:ln>
            <a:effectLst/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Automation development</a:t>
              </a:r>
            </a:p>
          </p:txBody>
        </p:sp>
        <p:sp>
          <p:nvSpPr>
            <p:cNvPr id="109" name="Rounded Rectangle 14"/>
            <p:cNvSpPr/>
            <p:nvPr/>
          </p:nvSpPr>
          <p:spPr>
            <a:xfrm>
              <a:off x="5084885" y="1697831"/>
              <a:ext cx="2986454" cy="205979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shade val="51000"/>
                    <a:satMod val="130000"/>
                  </a:srgbClr>
                </a:gs>
                <a:gs pos="80000">
                  <a:srgbClr val="4F81BD">
                    <a:shade val="93000"/>
                    <a:satMod val="130000"/>
                  </a:srgbClr>
                </a:gs>
                <a:gs pos="100000">
                  <a:srgbClr val="4F81B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Test Execution</a:t>
              </a:r>
            </a:p>
          </p:txBody>
        </p:sp>
        <p:sp>
          <p:nvSpPr>
            <p:cNvPr id="110" name="Rounded Rectangle 16"/>
            <p:cNvSpPr/>
            <p:nvPr/>
          </p:nvSpPr>
          <p:spPr>
            <a:xfrm>
              <a:off x="933451" y="2570560"/>
              <a:ext cx="1097573" cy="205978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shade val="51000"/>
                    <a:satMod val="130000"/>
                  </a:srgbClr>
                </a:gs>
                <a:gs pos="80000">
                  <a:srgbClr val="4F81BD">
                    <a:shade val="93000"/>
                    <a:satMod val="130000"/>
                  </a:srgbClr>
                </a:gs>
                <a:gs pos="100000">
                  <a:srgbClr val="4F81B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Test Planning</a:t>
              </a:r>
            </a:p>
          </p:txBody>
        </p:sp>
        <p:sp>
          <p:nvSpPr>
            <p:cNvPr id="111" name="Rounded Rectangle 17"/>
            <p:cNvSpPr/>
            <p:nvPr/>
          </p:nvSpPr>
          <p:spPr>
            <a:xfrm>
              <a:off x="1883020" y="2830116"/>
              <a:ext cx="2110154" cy="205978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shade val="51000"/>
                    <a:satMod val="130000"/>
                  </a:srgbClr>
                </a:gs>
                <a:gs pos="80000">
                  <a:srgbClr val="4F81BD">
                    <a:shade val="93000"/>
                    <a:satMod val="130000"/>
                  </a:srgbClr>
                </a:gs>
                <a:gs pos="100000">
                  <a:srgbClr val="4F81B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Test Design</a:t>
              </a:r>
            </a:p>
          </p:txBody>
        </p:sp>
        <p:sp>
          <p:nvSpPr>
            <p:cNvPr id="112" name="Rounded Rectangle 18"/>
            <p:cNvSpPr/>
            <p:nvPr/>
          </p:nvSpPr>
          <p:spPr>
            <a:xfrm>
              <a:off x="1883020" y="3031331"/>
              <a:ext cx="1587836" cy="205979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4BACC6"/>
              </a:solidFill>
              <a:prstDash val="solid"/>
            </a:ln>
            <a:effectLst/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Manual test preparation</a:t>
              </a:r>
            </a:p>
          </p:txBody>
        </p:sp>
        <p:sp>
          <p:nvSpPr>
            <p:cNvPr id="113" name="Rounded Rectangle 19"/>
            <p:cNvSpPr/>
            <p:nvPr/>
          </p:nvSpPr>
          <p:spPr>
            <a:xfrm>
              <a:off x="2065704" y="3296938"/>
              <a:ext cx="1617659" cy="205978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4BACC6"/>
              </a:solidFill>
              <a:prstDash val="solid"/>
            </a:ln>
            <a:effectLst/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Automation development</a:t>
              </a:r>
            </a:p>
          </p:txBody>
        </p:sp>
        <p:sp>
          <p:nvSpPr>
            <p:cNvPr id="114" name="Rounded Rectangle 21"/>
            <p:cNvSpPr/>
            <p:nvPr/>
          </p:nvSpPr>
          <p:spPr>
            <a:xfrm>
              <a:off x="6466256" y="3300072"/>
              <a:ext cx="814754" cy="325041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shade val="51000"/>
                    <a:satMod val="130000"/>
                  </a:srgbClr>
                </a:gs>
                <a:gs pos="80000">
                  <a:srgbClr val="4F81BD">
                    <a:shade val="93000"/>
                    <a:satMod val="130000"/>
                  </a:srgbClr>
                </a:gs>
                <a:gs pos="100000">
                  <a:srgbClr val="4F81B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Test Closure</a:t>
              </a:r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1087316" y="3644552"/>
              <a:ext cx="2383540" cy="441193"/>
            </a:xfrm>
            <a:prstGeom prst="wedgeRoundRectCallout">
              <a:avLst>
                <a:gd name="adj1" fmla="val 20760"/>
                <a:gd name="adj2" fmla="val -74073"/>
                <a:gd name="adj3" fmla="val 16667"/>
              </a:avLst>
            </a:prstGeom>
            <a:solidFill>
              <a:sysClr val="window" lastClr="FFFFFF"/>
            </a:solidFill>
            <a:ln w="3175" cap="flat" cmpd="sng" algn="ctr">
              <a:solidFill>
                <a:srgbClr val="4BACC6">
                  <a:lumMod val="75000"/>
                </a:srgbClr>
              </a:solidFill>
              <a:prstDash val="solid"/>
            </a:ln>
            <a:effectLst/>
          </p:spPr>
          <p:txBody>
            <a:bodyPr wrap="square" lIns="38963" tIns="0" rIns="38963" bIns="0">
              <a:spAutoFit/>
            </a:bodyPr>
            <a:lstStyle/>
            <a:p>
              <a:pPr marL="77925" marR="0" lvl="0" indent="-77925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Progression + Regression automation</a:t>
              </a:r>
            </a:p>
            <a:p>
              <a:pPr marL="77925" marR="0" lvl="0" indent="-77925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Reduced automation effort using a Lean automation team</a:t>
              </a:r>
            </a:p>
          </p:txBody>
        </p:sp>
        <p:sp>
          <p:nvSpPr>
            <p:cNvPr id="116" name="TextBox 115"/>
            <p:cNvSpPr txBox="1"/>
            <p:nvPr/>
          </p:nvSpPr>
          <p:spPr>
            <a:xfrm rot="16200000">
              <a:off x="-468059" y="3309756"/>
              <a:ext cx="2281239" cy="339373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 cap="flat" cmpd="sng" algn="ctr">
              <a:solidFill>
                <a:srgbClr val="F79646">
                  <a:lumMod val="75000"/>
                </a:srgbClr>
              </a:solidFill>
              <a:prstDash val="solid"/>
            </a:ln>
            <a:effectLst/>
          </p:spPr>
          <p:txBody>
            <a:bodyPr wrap="none" lIns="77925" tIns="38963" rIns="77925" bIns="38963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Automation using</a:t>
              </a:r>
            </a:p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IPAT</a:t>
              </a:r>
            </a:p>
          </p:txBody>
        </p:sp>
        <p:sp>
          <p:nvSpPr>
            <p:cNvPr id="117" name="TextBox 116"/>
            <p:cNvSpPr txBox="1"/>
            <p:nvPr/>
          </p:nvSpPr>
          <p:spPr>
            <a:xfrm rot="16200000">
              <a:off x="90317" y="1560901"/>
              <a:ext cx="1164488" cy="339373"/>
            </a:xfrm>
            <a:prstGeom prst="rect">
              <a:avLst/>
            </a:prstGeom>
            <a:solidFill>
              <a:srgbClr val="F2F2F2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square" lIns="77925" tIns="38963" rIns="77925" bIns="38963">
              <a:spAutoFit/>
            </a:bodyPr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Regular</a:t>
              </a:r>
            </a:p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Automation</a:t>
              </a:r>
            </a:p>
          </p:txBody>
        </p:sp>
        <p:grpSp>
          <p:nvGrpSpPr>
            <p:cNvPr id="118" name="Group 39"/>
            <p:cNvGrpSpPr>
              <a:grpSpLocks/>
            </p:cNvGrpSpPr>
            <p:nvPr/>
          </p:nvGrpSpPr>
          <p:grpSpPr bwMode="auto">
            <a:xfrm>
              <a:off x="878959" y="732914"/>
              <a:ext cx="8078299" cy="383407"/>
              <a:chOff x="951835" y="858309"/>
              <a:chExt cx="8751638" cy="445063"/>
            </a:xfrm>
          </p:grpSpPr>
          <p:sp>
            <p:nvSpPr>
              <p:cNvPr id="136" name="Right Arrow 26"/>
              <p:cNvSpPr/>
              <p:nvPr/>
            </p:nvSpPr>
            <p:spPr>
              <a:xfrm>
                <a:off x="1004230" y="1121305"/>
                <a:ext cx="8699243" cy="182067"/>
              </a:xfrm>
              <a:prstGeom prst="rightArrow">
                <a:avLst>
                  <a:gd name="adj1" fmla="val 100000"/>
                  <a:gd name="adj2" fmla="val 50000"/>
                </a:avLst>
              </a:prstGeom>
              <a:ln/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marL="0" marR="0" lvl="0" indent="0" algn="ctr" defTabSz="71819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37" name="Group 241"/>
              <p:cNvGrpSpPr>
                <a:grpSpLocks/>
              </p:cNvGrpSpPr>
              <p:nvPr/>
            </p:nvGrpSpPr>
            <p:grpSpPr bwMode="auto">
              <a:xfrm>
                <a:off x="951835" y="858309"/>
                <a:ext cx="446213" cy="395895"/>
                <a:chOff x="673944" y="983602"/>
                <a:chExt cx="568469" cy="470554"/>
              </a:xfrm>
            </p:grpSpPr>
            <p:sp>
              <p:nvSpPr>
                <p:cNvPr id="147" name="TextBox 146"/>
                <p:cNvSpPr txBox="1"/>
                <p:nvPr/>
              </p:nvSpPr>
              <p:spPr>
                <a:xfrm>
                  <a:off x="673944" y="983602"/>
                  <a:ext cx="568469" cy="275096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/>
                <a:p>
                  <a:pPr marL="0" marR="0" lvl="0" indent="0" defTabSz="71819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Segoe UI" pitchFamily="34" charset="0"/>
                      <a:cs typeface="Segoe UI" pitchFamily="34" charset="0"/>
                    </a:rPr>
                    <a:t>Day 0</a:t>
                  </a:r>
                </a:p>
              </p:txBody>
            </p:sp>
            <p:sp>
              <p:nvSpPr>
                <p:cNvPr id="148" name="Oval 29"/>
                <p:cNvSpPr>
                  <a:spLocks noChangeArrowheads="1"/>
                </p:cNvSpPr>
                <p:nvPr/>
              </p:nvSpPr>
              <p:spPr bwMode="auto">
                <a:xfrm>
                  <a:off x="838200" y="1362716"/>
                  <a:ext cx="91439" cy="91440"/>
                </a:xfrm>
                <a:prstGeom prst="ellipse">
                  <a:avLst/>
                </a:prstGeom>
                <a:solidFill>
                  <a:srgbClr val="4F81BD"/>
                </a:solidFill>
                <a:ln w="9525" algn="ctr">
                  <a:solidFill>
                    <a:srgbClr val="4F81BD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marL="0" marR="0" lvl="0" indent="0" algn="ctr" defTabSz="718192" eaLnBrk="0" fontAlgn="auto" latinLnBrk="0" hangingPunct="0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38" name="Group 242"/>
              <p:cNvGrpSpPr>
                <a:grpSpLocks/>
              </p:cNvGrpSpPr>
              <p:nvPr/>
            </p:nvGrpSpPr>
            <p:grpSpPr bwMode="auto">
              <a:xfrm>
                <a:off x="2096740" y="865782"/>
                <a:ext cx="510671" cy="388421"/>
                <a:chOff x="609771" y="992485"/>
                <a:chExt cx="650587" cy="461671"/>
              </a:xfrm>
            </p:grpSpPr>
            <p:sp>
              <p:nvSpPr>
                <p:cNvPr id="145" name="TextBox 144"/>
                <p:cNvSpPr txBox="1"/>
                <p:nvPr/>
              </p:nvSpPr>
              <p:spPr>
                <a:xfrm>
                  <a:off x="609771" y="992485"/>
                  <a:ext cx="650587" cy="275096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/>
                <a:p>
                  <a:pPr marL="0" marR="0" lvl="0" indent="0" defTabSz="71819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Segoe UI" pitchFamily="34" charset="0"/>
                      <a:cs typeface="Segoe UI" pitchFamily="34" charset="0"/>
                    </a:rPr>
                    <a:t>Day 10</a:t>
                  </a:r>
                </a:p>
              </p:txBody>
            </p:sp>
            <p:sp>
              <p:nvSpPr>
                <p:cNvPr id="146" name="Oval 32"/>
                <p:cNvSpPr>
                  <a:spLocks noChangeArrowheads="1"/>
                </p:cNvSpPr>
                <p:nvPr/>
              </p:nvSpPr>
              <p:spPr bwMode="auto">
                <a:xfrm>
                  <a:off x="838200" y="1362716"/>
                  <a:ext cx="91439" cy="91440"/>
                </a:xfrm>
                <a:prstGeom prst="ellipse">
                  <a:avLst/>
                </a:prstGeom>
                <a:solidFill>
                  <a:srgbClr val="4F81BD"/>
                </a:solidFill>
                <a:ln w="9525" algn="ctr">
                  <a:solidFill>
                    <a:srgbClr val="4F81BD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marL="0" marR="0" lvl="0" indent="0" algn="ctr" defTabSz="718192" eaLnBrk="0" fontAlgn="auto" latinLnBrk="0" hangingPunct="0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39" name="Group 249"/>
              <p:cNvGrpSpPr>
                <a:grpSpLocks/>
              </p:cNvGrpSpPr>
              <p:nvPr/>
            </p:nvGrpSpPr>
            <p:grpSpPr bwMode="auto">
              <a:xfrm>
                <a:off x="8899290" y="888207"/>
                <a:ext cx="560659" cy="358524"/>
                <a:chOff x="609122" y="1019135"/>
                <a:chExt cx="714272" cy="426134"/>
              </a:xfrm>
            </p:grpSpPr>
            <p:sp>
              <p:nvSpPr>
                <p:cNvPr id="143" name="TextBox 142"/>
                <p:cNvSpPr txBox="1"/>
                <p:nvPr/>
              </p:nvSpPr>
              <p:spPr>
                <a:xfrm>
                  <a:off x="609122" y="1019135"/>
                  <a:ext cx="714272" cy="275095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/>
                <a:p>
                  <a:pPr marL="0" marR="0" lvl="0" indent="0" defTabSz="71819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Segoe UI" pitchFamily="34" charset="0"/>
                      <a:cs typeface="Segoe UI" pitchFamily="34" charset="0"/>
                    </a:rPr>
                    <a:t>60 Days</a:t>
                  </a:r>
                </a:p>
              </p:txBody>
            </p:sp>
            <p:sp>
              <p:nvSpPr>
                <p:cNvPr id="144" name="Oval 35"/>
                <p:cNvSpPr>
                  <a:spLocks noChangeArrowheads="1"/>
                </p:cNvSpPr>
                <p:nvPr/>
              </p:nvSpPr>
              <p:spPr bwMode="auto">
                <a:xfrm>
                  <a:off x="838199" y="1353830"/>
                  <a:ext cx="91439" cy="91439"/>
                </a:xfrm>
                <a:prstGeom prst="ellipse">
                  <a:avLst/>
                </a:prstGeom>
                <a:solidFill>
                  <a:srgbClr val="4F81BD"/>
                </a:solidFill>
                <a:ln w="9525" algn="ctr">
                  <a:solidFill>
                    <a:srgbClr val="4F81BD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marL="0" marR="0" lvl="0" indent="0" algn="ctr" defTabSz="718192" eaLnBrk="0" fontAlgn="auto" latinLnBrk="0" hangingPunct="0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40" name="Group 242"/>
              <p:cNvGrpSpPr>
                <a:grpSpLocks/>
              </p:cNvGrpSpPr>
              <p:nvPr/>
            </p:nvGrpSpPr>
            <p:grpSpPr bwMode="auto">
              <a:xfrm>
                <a:off x="5236867" y="859681"/>
                <a:ext cx="510670" cy="389044"/>
                <a:chOff x="609552" y="1018400"/>
                <a:chExt cx="650587" cy="462411"/>
              </a:xfrm>
            </p:grpSpPr>
            <p:sp>
              <p:nvSpPr>
                <p:cNvPr id="141" name="TextBox 140"/>
                <p:cNvSpPr txBox="1"/>
                <p:nvPr/>
              </p:nvSpPr>
              <p:spPr>
                <a:xfrm>
                  <a:off x="609552" y="1018400"/>
                  <a:ext cx="650587" cy="275096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/>
                <a:p>
                  <a:pPr marL="0" marR="0" lvl="0" indent="0" defTabSz="71819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Segoe UI" pitchFamily="34" charset="0"/>
                      <a:cs typeface="Segoe UI" pitchFamily="34" charset="0"/>
                    </a:rPr>
                    <a:t>Day 30</a:t>
                  </a:r>
                </a:p>
              </p:txBody>
            </p:sp>
            <p:sp>
              <p:nvSpPr>
                <p:cNvPr id="142" name="Oval 38"/>
                <p:cNvSpPr>
                  <a:spLocks noChangeArrowheads="1"/>
                </p:cNvSpPr>
                <p:nvPr/>
              </p:nvSpPr>
              <p:spPr bwMode="auto">
                <a:xfrm>
                  <a:off x="838200" y="1389371"/>
                  <a:ext cx="91439" cy="91440"/>
                </a:xfrm>
                <a:prstGeom prst="ellipse">
                  <a:avLst/>
                </a:prstGeom>
                <a:solidFill>
                  <a:srgbClr val="4F81BD"/>
                </a:solidFill>
                <a:ln w="9525" algn="ctr">
                  <a:solidFill>
                    <a:srgbClr val="4F81BD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marL="0" marR="0" lvl="0" indent="0" algn="ctr" defTabSz="718192" eaLnBrk="0" fontAlgn="auto" latinLnBrk="0" hangingPunct="0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" pitchFamily="34" charset="0"/>
                  </a:endParaRPr>
                </a:p>
              </p:txBody>
            </p:sp>
          </p:grpSp>
        </p:grpSp>
        <p:cxnSp>
          <p:nvCxnSpPr>
            <p:cNvPr id="119" name="Straight Connector 118"/>
            <p:cNvCxnSpPr/>
            <p:nvPr/>
          </p:nvCxnSpPr>
          <p:spPr>
            <a:xfrm>
              <a:off x="929899" y="2330869"/>
              <a:ext cx="8018585" cy="0"/>
            </a:xfrm>
            <a:prstGeom prst="line">
              <a:avLst/>
            </a:prstGeom>
            <a:noFill/>
            <a:ln w="38100" cap="flat" cmpd="sng" algn="ctr">
              <a:solidFill>
                <a:srgbClr val="C0504D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cxnSp>
        <p:pic>
          <p:nvPicPr>
            <p:cNvPr id="120" name="Picture 44" descr="Image05.pn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465384" y="1697831"/>
              <a:ext cx="181708" cy="204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1" name="Picture 45" descr="Image06.png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674935" y="1697831"/>
              <a:ext cx="199292" cy="204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2" name="Picture 46" descr="Image05.pn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624504" y="1908572"/>
              <a:ext cx="180242" cy="204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3" name="Picture 47" descr="Image06.png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834055" y="1908572"/>
              <a:ext cx="197827" cy="204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4" name="Picture 48" descr="Image05.pn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437543" y="3037285"/>
              <a:ext cx="181708" cy="204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5" name="Picture 49" descr="Image06.png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647092" y="3037285"/>
              <a:ext cx="199292" cy="204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6" name="Picture 51" descr="Image06.png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840921" y="3305976"/>
              <a:ext cx="199292" cy="204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7" name="Rectangle: Rounded Corners 126"/>
            <p:cNvSpPr/>
            <p:nvPr/>
          </p:nvSpPr>
          <p:spPr>
            <a:xfrm>
              <a:off x="4556826" y="4005331"/>
              <a:ext cx="1933363" cy="547523"/>
            </a:xfrm>
            <a:prstGeom prst="roundRect">
              <a:avLst/>
            </a:prstGeom>
            <a:gradFill rotWithShape="1">
              <a:gsLst>
                <a:gs pos="0">
                  <a:srgbClr val="9BBB59">
                    <a:shade val="51000"/>
                    <a:satMod val="130000"/>
                  </a:srgbClr>
                </a:gs>
                <a:gs pos="80000">
                  <a:srgbClr val="9BBB59">
                    <a:shade val="93000"/>
                    <a:satMod val="130000"/>
                  </a:srgbClr>
                </a:gs>
                <a:gs pos="100000">
                  <a:srgbClr val="9BBB59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9BBB59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38963" tIns="0" rIns="38963" bIns="0" anchor="ctr"/>
            <a:lstStyle/>
            <a:p>
              <a:pPr marL="0" marR="0" lvl="0" indent="0" algn="ctr" defTabSz="77925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Effort Reduction</a:t>
              </a:r>
            </a:p>
            <a:p>
              <a:pPr marL="0" marR="0" lvl="0" indent="0" defTabSz="77925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30-35% in Test Design</a:t>
              </a:r>
            </a:p>
            <a:p>
              <a:pPr marL="0" marR="0" lvl="0" indent="0" defTabSz="77925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35-40% in Auto Dev</a:t>
              </a:r>
            </a:p>
          </p:txBody>
        </p:sp>
        <p:sp>
          <p:nvSpPr>
            <p:cNvPr id="128" name="Up Arrow 53"/>
            <p:cNvSpPr/>
            <p:nvPr/>
          </p:nvSpPr>
          <p:spPr>
            <a:xfrm flipV="1">
              <a:off x="6320204" y="4250921"/>
              <a:ext cx="386862" cy="304800"/>
            </a:xfrm>
            <a:prstGeom prst="upArrow">
              <a:avLst/>
            </a:prstGeom>
            <a:gradFill rotWithShape="1">
              <a:gsLst>
                <a:gs pos="0">
                  <a:srgbClr val="4F81BD">
                    <a:shade val="51000"/>
                    <a:satMod val="130000"/>
                  </a:srgbClr>
                </a:gs>
                <a:gs pos="80000">
                  <a:srgbClr val="4F81BD">
                    <a:shade val="93000"/>
                    <a:satMod val="130000"/>
                  </a:srgbClr>
                </a:gs>
                <a:gs pos="100000">
                  <a:srgbClr val="4F81B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7925" tIns="38963" rIns="77925" bIns="38963" anchor="ctr"/>
            <a:lstStyle/>
            <a:p>
              <a:pPr marL="0" marR="0" lvl="0" indent="0" algn="ctr" defTabSz="77925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9" name="Rectangle: Rounded Corners 128"/>
            <p:cNvSpPr/>
            <p:nvPr/>
          </p:nvSpPr>
          <p:spPr>
            <a:xfrm>
              <a:off x="6774474" y="4005331"/>
              <a:ext cx="1968011" cy="554668"/>
            </a:xfrm>
            <a:prstGeom prst="roundRect">
              <a:avLst/>
            </a:prstGeom>
            <a:gradFill rotWithShape="1">
              <a:gsLst>
                <a:gs pos="0">
                  <a:srgbClr val="9BBB59">
                    <a:shade val="51000"/>
                    <a:satMod val="130000"/>
                  </a:srgbClr>
                </a:gs>
                <a:gs pos="80000">
                  <a:srgbClr val="9BBB59">
                    <a:shade val="93000"/>
                    <a:satMod val="130000"/>
                  </a:srgbClr>
                </a:gs>
                <a:gs pos="100000">
                  <a:srgbClr val="9BBB59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9BBB59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38963" tIns="0" rIns="38963" bIns="0" anchor="ctr"/>
            <a:lstStyle/>
            <a:p>
              <a:pPr marL="0" marR="0" lvl="0" indent="0" algn="ctr" defTabSz="77925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Cycle Time Reduction</a:t>
              </a:r>
            </a:p>
            <a:p>
              <a:pPr marL="0" marR="0" lvl="0" indent="0" defTabSz="77925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15% in Test Cycle Time</a:t>
              </a:r>
            </a:p>
            <a:p>
              <a:pPr marL="0" marR="0" lvl="0" indent="0" defTabSz="77925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0" name="Up Arrow 57"/>
            <p:cNvSpPr/>
            <p:nvPr/>
          </p:nvSpPr>
          <p:spPr>
            <a:xfrm flipV="1">
              <a:off x="8551501" y="4248759"/>
              <a:ext cx="386862" cy="303610"/>
            </a:xfrm>
            <a:prstGeom prst="upArrow">
              <a:avLst/>
            </a:prstGeom>
            <a:gradFill rotWithShape="1">
              <a:gsLst>
                <a:gs pos="0">
                  <a:srgbClr val="4F81BD">
                    <a:shade val="51000"/>
                    <a:satMod val="130000"/>
                  </a:srgbClr>
                </a:gs>
                <a:gs pos="80000">
                  <a:srgbClr val="4F81BD">
                    <a:shade val="93000"/>
                    <a:satMod val="130000"/>
                  </a:srgbClr>
                </a:gs>
                <a:gs pos="100000">
                  <a:srgbClr val="4F81B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7925" tIns="38963" rIns="77925" bIns="38963" anchor="ctr"/>
            <a:lstStyle/>
            <a:p>
              <a:pPr marL="0" marR="0" lvl="0" indent="0" algn="ctr" defTabSz="77925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1" name="object 173"/>
            <p:cNvSpPr>
              <a:spLocks noChangeArrowheads="1"/>
            </p:cNvSpPr>
            <p:nvPr/>
          </p:nvSpPr>
          <p:spPr bwMode="auto">
            <a:xfrm>
              <a:off x="7669369" y="2838598"/>
              <a:ext cx="862878" cy="864122"/>
            </a:xfrm>
            <a:prstGeom prst="rect">
              <a:avLst/>
            </a:prstGeom>
            <a:blipFill dpi="0" rotWithShape="1">
              <a:blip r:embed="rId5" cstate="print"/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marL="0" marR="0" lvl="0" indent="0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32" name="Rounded Rectangle 119"/>
            <p:cNvSpPr/>
            <p:nvPr/>
          </p:nvSpPr>
          <p:spPr>
            <a:xfrm>
              <a:off x="8072227" y="1910295"/>
              <a:ext cx="816219" cy="325041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shade val="51000"/>
                    <a:satMod val="130000"/>
                  </a:srgbClr>
                </a:gs>
                <a:gs pos="80000">
                  <a:srgbClr val="4F81BD">
                    <a:shade val="93000"/>
                    <a:satMod val="130000"/>
                  </a:srgbClr>
                </a:gs>
                <a:gs pos="100000">
                  <a:srgbClr val="4F81B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Test Closure</a:t>
              </a:r>
            </a:p>
          </p:txBody>
        </p:sp>
        <p:sp>
          <p:nvSpPr>
            <p:cNvPr id="133" name="Rounded Rectangle 120"/>
            <p:cNvSpPr/>
            <p:nvPr/>
          </p:nvSpPr>
          <p:spPr>
            <a:xfrm>
              <a:off x="3498637" y="3073724"/>
              <a:ext cx="2986454" cy="205979"/>
            </a:xfrm>
            <a:prstGeom prst="roundRect">
              <a:avLst/>
            </a:prstGeom>
            <a:gradFill rotWithShape="1">
              <a:gsLst>
                <a:gs pos="0">
                  <a:srgbClr val="4F81BD">
                    <a:shade val="51000"/>
                    <a:satMod val="130000"/>
                  </a:srgbClr>
                </a:gs>
                <a:gs pos="80000">
                  <a:srgbClr val="4F81BD">
                    <a:shade val="93000"/>
                    <a:satMod val="130000"/>
                  </a:srgbClr>
                </a:gs>
                <a:gs pos="100000">
                  <a:srgbClr val="4F81B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77925" tIns="38963" rIns="77925" bIns="38963" anchor="ctr"/>
            <a:lstStyle/>
            <a:p>
              <a:pPr marL="0" marR="0" lvl="0" indent="0" algn="ctr" defTabSz="7181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 pitchFamily="34" charset="0"/>
                  <a:ea typeface="Segoe UI" pitchFamily="34" charset="0"/>
                  <a:cs typeface="Segoe UI" pitchFamily="34" charset="0"/>
                </a:rPr>
                <a:t>Test Execution</a:t>
              </a:r>
            </a:p>
          </p:txBody>
        </p:sp>
        <p:cxnSp>
          <p:nvCxnSpPr>
            <p:cNvPr id="134" name="Straight Connector 133"/>
            <p:cNvCxnSpPr/>
            <p:nvPr/>
          </p:nvCxnSpPr>
          <p:spPr>
            <a:xfrm>
              <a:off x="8834907" y="2453425"/>
              <a:ext cx="6439" cy="1481071"/>
            </a:xfrm>
            <a:prstGeom prst="line">
              <a:avLst/>
            </a:prstGeom>
            <a:noFill/>
            <a:ln w="28575" cap="flat" cmpd="sng" algn="ctr">
              <a:solidFill>
                <a:srgbClr val="6A9529"/>
              </a:solidFill>
              <a:prstDash val="sysDash"/>
            </a:ln>
            <a:effectLst/>
          </p:spPr>
        </p:cxnSp>
        <p:cxnSp>
          <p:nvCxnSpPr>
            <p:cNvPr id="135" name="Straight Connector 134"/>
            <p:cNvCxnSpPr/>
            <p:nvPr/>
          </p:nvCxnSpPr>
          <p:spPr>
            <a:xfrm>
              <a:off x="7403206" y="2470597"/>
              <a:ext cx="6439" cy="1481071"/>
            </a:xfrm>
            <a:prstGeom prst="line">
              <a:avLst/>
            </a:prstGeom>
            <a:noFill/>
            <a:ln w="28575" cap="flat" cmpd="sng" algn="ctr">
              <a:solidFill>
                <a:srgbClr val="6A9529"/>
              </a:solidFill>
              <a:prstDash val="sysDash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9149267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90560" y="174625"/>
            <a:ext cx="11405277" cy="1325563"/>
          </a:xfrm>
        </p:spPr>
        <p:txBody>
          <a:bodyPr/>
          <a:lstStyle/>
          <a:p>
            <a:pPr algn="ctr"/>
            <a:r>
              <a:rPr lang="en-US" sz="3200" b="1" dirty="0">
                <a:solidFill>
                  <a:srgbClr val="0B1B93"/>
                </a:solidFill>
                <a:latin typeface="+mn-lt"/>
              </a:rPr>
              <a:t>Benefits</a:t>
            </a:r>
            <a:br>
              <a:rPr lang="en-US" dirty="0"/>
            </a:br>
            <a:endParaRPr lang="en-US" sz="1800" i="1" dirty="0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662BDCF-D804-41D4-96F8-708EF6D0AEF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648916"/>
              </p:ext>
            </p:extLst>
          </p:nvPr>
        </p:nvGraphicFramePr>
        <p:xfrm>
          <a:off x="390561" y="1162050"/>
          <a:ext cx="11405277" cy="5330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7976844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90560" y="174625"/>
            <a:ext cx="11405277" cy="1325563"/>
          </a:xfrm>
        </p:spPr>
        <p:txBody>
          <a:bodyPr/>
          <a:lstStyle/>
          <a:p>
            <a:pPr algn="ctr"/>
            <a:r>
              <a:rPr lang="en-US" sz="3200" b="1" dirty="0">
                <a:solidFill>
                  <a:srgbClr val="0B1B93"/>
                </a:solidFill>
                <a:latin typeface="+mn-lt"/>
              </a:rPr>
              <a:t>Updating Features</a:t>
            </a:r>
            <a:endParaRPr lang="en-US" sz="1800" i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FE3039-2BF7-4CF4-92B2-BFDC71F97EB9}"/>
              </a:ext>
            </a:extLst>
          </p:cNvPr>
          <p:cNvSpPr txBox="1"/>
          <p:nvPr/>
        </p:nvSpPr>
        <p:spPr>
          <a:xfrm>
            <a:off x="1323975" y="1771650"/>
            <a:ext cx="504394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st Case Grou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st Case flow from object repository to Test Su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7437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</TotalTime>
  <Words>472</Words>
  <Application>Microsoft Office PowerPoint</Application>
  <PresentationFormat>Widescreen</PresentationFormat>
  <Paragraphs>85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Calibri Light</vt:lpstr>
      <vt:lpstr>Wingdings</vt:lpstr>
      <vt:lpstr>Office Theme</vt:lpstr>
      <vt:lpstr>think-cell Slide</vt:lpstr>
      <vt:lpstr>ICW – Test Automation Approach</vt:lpstr>
      <vt:lpstr>ICW - Test Automation Process Driving efficiency &amp; coverage with a special focus on ICW functional automation Testing needs</vt:lpstr>
      <vt:lpstr>PowerPoint Presentation</vt:lpstr>
      <vt:lpstr>IPAT Vs Other Automation Frameworks</vt:lpstr>
      <vt:lpstr>Benefits </vt:lpstr>
      <vt:lpstr>Updating Featur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ravan Gandla</dc:creator>
  <cp:lastModifiedBy>Shravan Gandla</cp:lastModifiedBy>
  <cp:revision>12</cp:revision>
  <dcterms:created xsi:type="dcterms:W3CDTF">2021-12-06T22:03:26Z</dcterms:created>
  <dcterms:modified xsi:type="dcterms:W3CDTF">2022-01-24T23:25:43Z</dcterms:modified>
</cp:coreProperties>
</file>